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tags/tag5.xml" ContentType="application/vnd.openxmlformats-officedocument.presentationml.tags+xml"/>
  <Override PartName="/ppt/embeddings/oleObject4.bin" ContentType="application/vnd.openxmlformats-officedocument.oleObject"/>
  <Override PartName="/ppt/tags/tag6.xml" ContentType="application/vnd.openxmlformats-officedocument.presentationml.tags+xml"/>
  <Override PartName="/ppt/embeddings/oleObject5.bin" ContentType="application/vnd.openxmlformats-officedocument.oleObject"/>
  <Override PartName="/ppt/tags/tag7.xml" ContentType="application/vnd.openxmlformats-officedocument.presentationml.tags+xml"/>
  <Override PartName="/ppt/embeddings/oleObject6.bin" ContentType="application/vnd.openxmlformats-officedocument.oleObject"/>
  <Override PartName="/ppt/tags/tag8.xml" ContentType="application/vnd.openxmlformats-officedocument.presentationml.tags+xml"/>
  <Override PartName="/ppt/embeddings/oleObject7.bin" ContentType="application/vnd.openxmlformats-officedocument.oleObject"/>
  <Override PartName="/ppt/tags/tag9.xml" ContentType="application/vnd.openxmlformats-officedocument.presentationml.tags+xml"/>
  <Override PartName="/ppt/embeddings/oleObject8.bin" ContentType="application/vnd.openxmlformats-officedocument.oleObject"/>
  <Override PartName="/ppt/tags/tag10.xml" ContentType="application/vnd.openxmlformats-officedocument.presentationml.tags+xml"/>
  <Override PartName="/ppt/embeddings/oleObject9.bin" ContentType="application/vnd.openxmlformats-officedocument.oleObject"/>
  <Override PartName="/ppt/tags/tag11.xml" ContentType="application/vnd.openxmlformats-officedocument.presentationml.tags+xml"/>
  <Override PartName="/ppt/embeddings/oleObject10.bin" ContentType="application/vnd.openxmlformats-officedocument.oleObject"/>
  <Override PartName="/ppt/tags/tag12.xml" ContentType="application/vnd.openxmlformats-officedocument.presentationml.tags+xml"/>
  <Override PartName="/ppt/embeddings/oleObject11.bin" ContentType="application/vnd.openxmlformats-officedocument.oleObject"/>
  <Override PartName="/ppt/tags/tag13.xml" ContentType="application/vnd.openxmlformats-officedocument.presentationml.tags+xml"/>
  <Override PartName="/ppt/embeddings/oleObject12.bin" ContentType="application/vnd.openxmlformats-officedocument.oleObject"/>
  <Override PartName="/ppt/tags/tag14.xml" ContentType="application/vnd.openxmlformats-officedocument.presentationml.tags+xml"/>
  <Override PartName="/ppt/embeddings/oleObject13.bin" ContentType="application/vnd.openxmlformats-officedocument.oleObject"/>
  <Override PartName="/ppt/tags/tag15.xml" ContentType="application/vnd.openxmlformats-officedocument.presentationml.tags+xml"/>
  <Override PartName="/ppt/embeddings/oleObject14.bin" ContentType="application/vnd.openxmlformats-officedocument.oleObject"/>
  <Override PartName="/ppt/tags/tag16.xml" ContentType="application/vnd.openxmlformats-officedocument.presentationml.tags+xml"/>
  <Override PartName="/ppt/embeddings/oleObject15.bin" ContentType="application/vnd.openxmlformats-officedocument.oleObject"/>
  <Override PartName="/ppt/tags/tag17.xml" ContentType="application/vnd.openxmlformats-officedocument.presentationml.tags+xml"/>
  <Override PartName="/ppt/embeddings/oleObject16.bin" ContentType="application/vnd.openxmlformats-officedocument.oleObject"/>
  <Override PartName="/ppt/tags/tag18.xml" ContentType="application/vnd.openxmlformats-officedocument.presentationml.tags+xml"/>
  <Override PartName="/ppt/embeddings/oleObject17.bin" ContentType="application/vnd.openxmlformats-officedocument.oleObject"/>
  <Override PartName="/ppt/tags/tag19.xml" ContentType="application/vnd.openxmlformats-officedocument.presentationml.tags+xml"/>
  <Override PartName="/ppt/embeddings/oleObject18.bin" ContentType="application/vnd.openxmlformats-officedocument.oleObject"/>
  <Override PartName="/ppt/tags/tag20.xml" ContentType="application/vnd.openxmlformats-officedocument.presentationml.tags+xml"/>
  <Override PartName="/ppt/embeddings/oleObject19.bin" ContentType="application/vnd.openxmlformats-officedocument.oleObject"/>
  <Override PartName="/ppt/tags/tag21.xml" ContentType="application/vnd.openxmlformats-officedocument.presentationml.tags+xml"/>
  <Override PartName="/ppt/embeddings/oleObject20.bin" ContentType="application/vnd.openxmlformats-officedocument.oleObject"/>
  <Override PartName="/ppt/tags/tag22.xml" ContentType="application/vnd.openxmlformats-officedocument.presentationml.tags+xml"/>
  <Override PartName="/ppt/embeddings/oleObject21.bin" ContentType="application/vnd.openxmlformats-officedocument.oleObject"/>
  <Override PartName="/ppt/tags/tag23.xml" ContentType="application/vnd.openxmlformats-officedocument.presentationml.tags+xml"/>
  <Override PartName="/ppt/embeddings/oleObject22.bin" ContentType="application/vnd.openxmlformats-officedocument.oleObject"/>
  <Override PartName="/ppt/tags/tag24.xml" ContentType="application/vnd.openxmlformats-officedocument.presentationml.tags+xml"/>
  <Override PartName="/ppt/embeddings/oleObject23.bin" ContentType="application/vnd.openxmlformats-officedocument.oleObject"/>
  <Override PartName="/ppt/tags/tag25.xml" ContentType="application/vnd.openxmlformats-officedocument.presentationml.tags+xml"/>
  <Override PartName="/ppt/embeddings/oleObject24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41"/>
  </p:notesMasterIdLst>
  <p:handoutMasterIdLst>
    <p:handoutMasterId r:id="rId42"/>
  </p:handoutMasterIdLst>
  <p:sldIdLst>
    <p:sldId id="271" r:id="rId2"/>
    <p:sldId id="272" r:id="rId3"/>
    <p:sldId id="273" r:id="rId4"/>
    <p:sldId id="274" r:id="rId5"/>
    <p:sldId id="275" r:id="rId6"/>
    <p:sldId id="276" r:id="rId7"/>
    <p:sldId id="277" r:id="rId8"/>
    <p:sldId id="278" r:id="rId9"/>
    <p:sldId id="279" r:id="rId10"/>
    <p:sldId id="280" r:id="rId11"/>
    <p:sldId id="281" r:id="rId12"/>
    <p:sldId id="282" r:id="rId13"/>
    <p:sldId id="283" r:id="rId14"/>
    <p:sldId id="284" r:id="rId15"/>
    <p:sldId id="285" r:id="rId16"/>
    <p:sldId id="290" r:id="rId17"/>
    <p:sldId id="291" r:id="rId18"/>
    <p:sldId id="292" r:id="rId19"/>
    <p:sldId id="293" r:id="rId20"/>
    <p:sldId id="294" r:id="rId21"/>
    <p:sldId id="295" r:id="rId22"/>
    <p:sldId id="296" r:id="rId23"/>
    <p:sldId id="297" r:id="rId24"/>
    <p:sldId id="298" r:id="rId25"/>
    <p:sldId id="299" r:id="rId26"/>
    <p:sldId id="300" r:id="rId27"/>
    <p:sldId id="301" r:id="rId28"/>
    <p:sldId id="302" r:id="rId29"/>
    <p:sldId id="303" r:id="rId30"/>
    <p:sldId id="304" r:id="rId31"/>
    <p:sldId id="305" r:id="rId32"/>
    <p:sldId id="306" r:id="rId33"/>
    <p:sldId id="307" r:id="rId34"/>
    <p:sldId id="308" r:id="rId35"/>
    <p:sldId id="309" r:id="rId36"/>
    <p:sldId id="310" r:id="rId37"/>
    <p:sldId id="311" r:id="rId38"/>
    <p:sldId id="312" r:id="rId39"/>
    <p:sldId id="313" r:id="rId40"/>
  </p:sldIdLst>
  <p:sldSz cx="12190413" cy="6859588"/>
  <p:notesSz cx="6858000" cy="9144000"/>
  <p:custDataLst>
    <p:tags r:id="rId44"/>
  </p:custDataLst>
  <p:defaultTextStyle>
    <a:defPPr>
      <a:defRPr lang="de-DE"/>
    </a:defPPr>
    <a:lvl1pPr marL="0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2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47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71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9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18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342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565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789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1B04E86-246D-4782-9F4F-064A46A85945}">
          <p14:sldIdLst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90"/>
            <p14:sldId id="291"/>
            <p14:sldId id="292"/>
            <p14:sldId id="293"/>
            <p14:sldId id="294"/>
            <p14:sldId id="295"/>
            <p14:sldId id="296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311"/>
            <p14:sldId id="312"/>
            <p14:sldId id="313"/>
          </p14:sldIdLst>
        </p14:section>
      </p14:sectionLst>
    </p:ext>
    <p:ext uri="{EFAFB233-063F-42B5-8137-9DF3F51BA10A}">
      <p15:sldGuideLst xmlns:p15="http://schemas.microsoft.com/office/powerpoint/2012/main" xmlns="">
        <p15:guide id="2" orient="horz" pos="4020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7291">
          <p15:clr>
            <a:srgbClr val="A4A3A4"/>
          </p15:clr>
        </p15:guide>
        <p15:guide id="5" pos="3726" userDrawn="1">
          <p15:clr>
            <a:srgbClr val="A4A3A4"/>
          </p15:clr>
        </p15:guide>
        <p15:guide id="6" pos="39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761">
          <p15:clr>
            <a:srgbClr val="A4A3A4"/>
          </p15:clr>
        </p15:guide>
        <p15:guide id="2" orient="horz" pos="5330">
          <p15:clr>
            <a:srgbClr val="A4A3A4"/>
          </p15:clr>
        </p15:guide>
        <p15:guide id="3" pos="234">
          <p15:clr>
            <a:srgbClr val="A4A3A4"/>
          </p15:clr>
        </p15:guide>
        <p15:guide id="4" pos="405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335F"/>
    <a:srgbClr val="061A38"/>
    <a:srgbClr val="009CDA"/>
    <a:srgbClr val="B3E900"/>
    <a:srgbClr val="34B399"/>
    <a:srgbClr val="AED8EF"/>
    <a:srgbClr val="09244C"/>
    <a:srgbClr val="D9ECF8"/>
    <a:srgbClr val="2EB0A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6071" autoAdjust="0"/>
    <p:restoredTop sz="94605" autoAdjust="0"/>
  </p:normalViewPr>
  <p:slideViewPr>
    <p:cSldViewPr snapToGrid="0" snapToObjects="1" showGuides="1">
      <p:cViewPr>
        <p:scale>
          <a:sx n="99" d="100"/>
          <a:sy n="99" d="100"/>
        </p:scale>
        <p:origin x="-3024" y="-1632"/>
      </p:cViewPr>
      <p:guideLst>
        <p:guide orient="horz" pos="4020"/>
        <p:guide pos="3840"/>
        <p:guide pos="7291"/>
        <p:guide pos="3726"/>
        <p:guide pos="39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206" d="100"/>
        <a:sy n="206" d="100"/>
      </p:scale>
      <p:origin x="0" y="0"/>
    </p:cViewPr>
  </p:sorterViewPr>
  <p:notesViewPr>
    <p:cSldViewPr snapToGrid="0" snapToObjects="1" showGuides="1">
      <p:cViewPr>
        <p:scale>
          <a:sx n="100" d="100"/>
          <a:sy n="100" d="100"/>
        </p:scale>
        <p:origin x="582" y="-426"/>
      </p:cViewPr>
      <p:guideLst>
        <p:guide orient="horz" pos="2761"/>
        <p:guide orient="horz" pos="5330"/>
        <p:guide pos="234"/>
        <p:guide pos="405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viewProps" Target="viewProps.xml"/><Relationship Id="rId47" Type="http://schemas.openxmlformats.org/officeDocument/2006/relationships/theme" Target="theme/theme1.xml"/><Relationship Id="rId48" Type="http://schemas.openxmlformats.org/officeDocument/2006/relationships/tableStyles" Target="tableStyle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notesMaster" Target="notesMasters/notesMaster1.xml"/><Relationship Id="rId42" Type="http://schemas.openxmlformats.org/officeDocument/2006/relationships/handoutMaster" Target="handoutMasters/handoutMaster1.xml"/><Relationship Id="rId43" Type="http://schemas.openxmlformats.org/officeDocument/2006/relationships/printerSettings" Target="printerSettings/printerSettings1.bin"/><Relationship Id="rId44" Type="http://schemas.openxmlformats.org/officeDocument/2006/relationships/tags" Target="tags/tag1.xml"/><Relationship Id="rId4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9973733357676"/>
          <c:y val="0.000941011405832335"/>
          <c:w val="0.808925268089029"/>
          <c:h val="0.79592107127705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xample 1</c:v>
                </c:pt>
              </c:strCache>
            </c:strRef>
          </c:tx>
          <c:spPr>
            <a:gradFill>
              <a:gsLst>
                <a:gs pos="0">
                  <a:schemeClr val="accent4"/>
                </a:gs>
                <a:gs pos="100000">
                  <a:schemeClr val="accent2"/>
                </a:gs>
              </a:gsLst>
              <a:lin ang="1800000" scaled="0"/>
            </a:gra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4</c:v>
                </c:pt>
                <c:pt idx="1">
                  <c:v>Category 3</c:v>
                </c:pt>
                <c:pt idx="2">
                  <c:v>Category 2</c:v>
                </c:pt>
                <c:pt idx="3">
                  <c:v>Category 1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3.2</c:v>
                </c:pt>
                <c:pt idx="1">
                  <c:v>0.6</c:v>
                </c:pt>
                <c:pt idx="2">
                  <c:v>3.4</c:v>
                </c:pt>
                <c:pt idx="3">
                  <c:v>3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3D8-438D-9891-B70731422E4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Example 2</c:v>
                </c:pt>
              </c:strCache>
            </c:strRef>
          </c:tx>
          <c:spPr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1800000" scaled="0"/>
            </a:gra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757A-49BE-B9AD-8D41FC838566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757A-49BE-B9AD-8D41FC838566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757A-49BE-B9AD-8D41FC838566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757A-49BE-B9AD-8D41FC838566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4</c:v>
                </c:pt>
                <c:pt idx="1">
                  <c:v>Category 3</c:v>
                </c:pt>
                <c:pt idx="2">
                  <c:v>Category 2</c:v>
                </c:pt>
                <c:pt idx="3">
                  <c:v>Category 1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0.2</c:v>
                </c:pt>
                <c:pt idx="1">
                  <c:v>3.1</c:v>
                </c:pt>
                <c:pt idx="2">
                  <c:v>4.2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3D8-438D-9891-B70731422E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6"/>
        <c:axId val="-2147092616"/>
        <c:axId val="2147163560"/>
      </c:barChart>
      <c:catAx>
        <c:axId val="-21470926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6350">
            <a:solidFill>
              <a:schemeClr val="bg1"/>
            </a:solidFill>
          </a:ln>
        </c:spPr>
        <c:crossAx val="2147163560"/>
        <c:crosses val="autoZero"/>
        <c:auto val="1"/>
        <c:lblAlgn val="ctr"/>
        <c:lblOffset val="100"/>
        <c:noMultiLvlLbl val="0"/>
      </c:catAx>
      <c:valAx>
        <c:axId val="2147163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14709261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231625856979434"/>
          <c:y val="0.85662855530885"/>
          <c:w val="0.550814468521459"/>
          <c:h val="0.088380761250651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  <a:latin typeface="+mn-lt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9973733357676"/>
          <c:y val="0.000941011405832335"/>
          <c:w val="0.808925268089029"/>
          <c:h val="0.79592107127705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xample 1</c:v>
                </c:pt>
              </c:strCache>
            </c:strRef>
          </c:tx>
          <c:spPr>
            <a:gradFill>
              <a:gsLst>
                <a:gs pos="0">
                  <a:schemeClr val="accent4"/>
                </a:gs>
                <a:gs pos="100000">
                  <a:schemeClr val="accent2"/>
                </a:gs>
              </a:gsLst>
              <a:lin ang="1800000" scaled="0"/>
            </a:gra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4</c:v>
                </c:pt>
                <c:pt idx="1">
                  <c:v>Category 3</c:v>
                </c:pt>
                <c:pt idx="2">
                  <c:v>Category 2</c:v>
                </c:pt>
                <c:pt idx="3">
                  <c:v>Category 1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6</c:v>
                </c:pt>
                <c:pt idx="1">
                  <c:v>3.5</c:v>
                </c:pt>
                <c:pt idx="2">
                  <c:v>6.7</c:v>
                </c:pt>
                <c:pt idx="3">
                  <c:v>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7AD-49CA-BA11-D70CEFE34F0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Example 2</c:v>
                </c:pt>
              </c:strCache>
            </c:strRef>
          </c:tx>
          <c:spPr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1800000" scaled="0"/>
            </a:gra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3550-43DC-BE15-69277A29306C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3550-43DC-BE15-69277A29306C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3550-43DC-BE15-69277A29306C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3550-43DC-BE15-69277A29306C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4</c:v>
                </c:pt>
                <c:pt idx="1">
                  <c:v>Category 3</c:v>
                </c:pt>
                <c:pt idx="2">
                  <c:v>Category 2</c:v>
                </c:pt>
                <c:pt idx="3">
                  <c:v>Category 1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6</c:v>
                </c:pt>
                <c:pt idx="1">
                  <c:v>5.1</c:v>
                </c:pt>
                <c:pt idx="2">
                  <c:v>3.6</c:v>
                </c:pt>
                <c:pt idx="3">
                  <c:v>5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7AD-49CA-BA11-D70CEFE34F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6"/>
        <c:axId val="-2146757880"/>
        <c:axId val="-2146764776"/>
      </c:barChart>
      <c:catAx>
        <c:axId val="-21467578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6350">
            <a:solidFill>
              <a:schemeClr val="bg1"/>
            </a:solidFill>
          </a:ln>
        </c:spPr>
        <c:crossAx val="-2146764776"/>
        <c:crosses val="autoZero"/>
        <c:auto val="1"/>
        <c:lblAlgn val="ctr"/>
        <c:lblOffset val="100"/>
        <c:noMultiLvlLbl val="0"/>
      </c:catAx>
      <c:valAx>
        <c:axId val="-21467647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14675788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231625856979434"/>
          <c:y val="0.85662855530885"/>
          <c:w val="0.550814468521459"/>
          <c:h val="0.088380761250651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  <a:latin typeface="+mn-lt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72CCD9-6F01-4011-B571-3957A6F7E709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4/8/18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CC8460-34F5-425F-A0B5-7C13CBA5C2E3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1265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19A70C-7D1D-4F95-AA0A-6D0338EE8089}" type="datetimeFigureOut">
              <a:rPr lang="de-DE" smtClean="0"/>
              <a:pPr/>
              <a:t>4/8/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252413" y="685800"/>
            <a:ext cx="6092826" cy="3429000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369711" y="4343400"/>
            <a:ext cx="6064956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72ADED-F3CA-41CF-9877-309ADD1D734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0116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801654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57806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315612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73418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2324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394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802" y="1122623"/>
            <a:ext cx="9142810" cy="2388153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802" y="3602872"/>
            <a:ext cx="9142810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49DFC4-1118-47B3-B607-F8F10BE374A4}" type="datetime1">
              <a:rPr lang="en-US" smtClean="0"/>
              <a:t>4/8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026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BDDE4-5B29-46A6-8AF0-D6B98520D2F8}" type="datetime1">
              <a:rPr lang="en-US" smtClean="0"/>
              <a:t>4/8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102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3764" y="365209"/>
            <a:ext cx="2628558" cy="581318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091" y="365209"/>
            <a:ext cx="7733293" cy="581318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FEEFC-7C57-49C4-A7B9-6FD40B53D893}" type="datetime1">
              <a:rPr lang="en-US" smtClean="0"/>
              <a:t>4/8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8637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752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792686"/>
            <a:ext cx="12190413" cy="6690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11463564" y="6386780"/>
            <a:ext cx="391886" cy="472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510504"/>
            <a:ext cx="11520487" cy="498598"/>
          </a:xfrm>
        </p:spPr>
        <p:txBody>
          <a:bodyPr lIns="0" tIns="0" rIns="0" bIns="0" anchor="t" anchorCtr="0">
            <a:spAutoFit/>
          </a:bodyPr>
          <a:lstStyle>
            <a:lvl1pPr>
              <a:defRPr sz="36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1616487"/>
            <a:ext cx="11520487" cy="4561907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453683"/>
            <a:ext cx="2742843" cy="365210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4/8/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75" y="6453683"/>
            <a:ext cx="4114264" cy="365210"/>
          </a:xfr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3564" y="6453683"/>
            <a:ext cx="391886" cy="365210"/>
          </a:xfr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4963" y="319490"/>
            <a:ext cx="793479" cy="853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1128442" y="319490"/>
            <a:ext cx="215990" cy="85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1560423" y="319490"/>
            <a:ext cx="215990" cy="853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1344432" y="319490"/>
            <a:ext cx="215990" cy="85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4963" y="1001936"/>
            <a:ext cx="11520487" cy="317500"/>
          </a:xfrm>
        </p:spPr>
        <p:txBody>
          <a:bodyPr lIns="0" tIns="0" rIns="0" bIns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154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309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463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617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31702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686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8" userDrawn="1">
          <p15:clr>
            <a:srgbClr val="FBAE40"/>
          </p15:clr>
        </p15:guide>
        <p15:guide id="4" orient="horz" pos="91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742" y="1710134"/>
            <a:ext cx="10514231" cy="2853398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742" y="4590526"/>
            <a:ext cx="10514231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84930-C6BA-4076-8121-BB991979AFF3}" type="datetime1">
              <a:rPr lang="en-US" smtClean="0"/>
              <a:t>4/8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778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091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1396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679DC-1CB2-4046-A797-EAD7F6282612}" type="datetime1">
              <a:rPr lang="en-US" smtClean="0"/>
              <a:t>4/8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354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365210"/>
            <a:ext cx="10514231" cy="132587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679" y="1681552"/>
            <a:ext cx="5157116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679" y="2505655"/>
            <a:ext cx="5157116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1397" y="1681552"/>
            <a:ext cx="5182513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1397" y="2505655"/>
            <a:ext cx="5182513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F02CD7-7FBB-4A2A-8368-9DED15ED7385}" type="datetime1">
              <a:rPr lang="en-US" smtClean="0"/>
              <a:t>4/8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588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48A61-F122-4A38-8B2B-5605881FB769}" type="datetime1">
              <a:rPr lang="en-US" smtClean="0"/>
              <a:t>4/8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106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AD3F-A3B5-4A24-A448-7EAB2C16914A}" type="datetime1">
              <a:rPr lang="en-US" smtClean="0"/>
              <a:t>4/8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870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644894-21A8-4425-9305-E6D5793453B0}" type="datetime1">
              <a:rPr lang="en-US" smtClean="0"/>
              <a:t>4/8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603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2896BE-36AB-4DB9-9468-435E24CA2B4A}" type="datetime1">
              <a:rPr lang="en-US" smtClean="0"/>
              <a:t>4/8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8799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9546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6048"/>
            <a:ext cx="10514231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182B25-0756-4DFE-9698-0F9202B8DC3F}" type="datetime1">
              <a:rPr lang="en-US" smtClean="0"/>
              <a:t>4/8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75" y="6357822"/>
            <a:ext cx="411426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9479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36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Relationship Id="rId3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5.vml"/><Relationship Id="rId2" Type="http://schemas.openxmlformats.org/officeDocument/2006/relationships/tags" Target="../tags/tag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2" Type="http://schemas.openxmlformats.org/officeDocument/2006/relationships/tags" Target="../tags/tag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8.vml"/><Relationship Id="rId2" Type="http://schemas.openxmlformats.org/officeDocument/2006/relationships/tags" Target="../tags/tag1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9.vml"/><Relationship Id="rId2" Type="http://schemas.openxmlformats.org/officeDocument/2006/relationships/tags" Target="../tags/tag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0.vml"/><Relationship Id="rId2" Type="http://schemas.openxmlformats.org/officeDocument/2006/relationships/tags" Target="../tags/tag2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1.vml"/><Relationship Id="rId2" Type="http://schemas.openxmlformats.org/officeDocument/2006/relationships/tags" Target="../tags/tag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2.vml"/><Relationship Id="rId2" Type="http://schemas.openxmlformats.org/officeDocument/2006/relationships/tags" Target="../tags/tag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3.vml"/><Relationship Id="rId2" Type="http://schemas.openxmlformats.org/officeDocument/2006/relationships/tags" Target="../tags/tag2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2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4.vml"/><Relationship Id="rId2" Type="http://schemas.openxmlformats.org/officeDocument/2006/relationships/tags" Target="../tags/tag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4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64"/>
          <a:stretch/>
        </p:blipFill>
        <p:spPr>
          <a:xfrm>
            <a:off x="-1" y="0"/>
            <a:ext cx="12189935" cy="685958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31480" y="0"/>
            <a:ext cx="12221894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21">
            <a:extLst>
              <a:ext uri="{FF2B5EF4-FFF2-40B4-BE49-F238E27FC236}">
                <a16:creationId xmlns:a16="http://schemas.microsoft.com/office/drawing/2014/main" xmlns="" id="{ED8F1101-865C-4355-A612-E31ABCB72104}"/>
              </a:ext>
            </a:extLst>
          </p:cNvPr>
          <p:cNvSpPr/>
          <p:nvPr/>
        </p:nvSpPr>
        <p:spPr>
          <a:xfrm>
            <a:off x="3663190" y="0"/>
            <a:ext cx="6712542" cy="6858000"/>
          </a:xfrm>
          <a:custGeom>
            <a:avLst/>
            <a:gdLst>
              <a:gd name="connsiteX0" fmla="*/ 0 w 6712542"/>
              <a:gd name="connsiteY0" fmla="*/ 0 h 6858000"/>
              <a:gd name="connsiteX1" fmla="*/ 621213 w 6712542"/>
              <a:gd name="connsiteY1" fmla="*/ 0 h 6858000"/>
              <a:gd name="connsiteX2" fmla="*/ 6712542 w 6712542"/>
              <a:gd name="connsiteY2" fmla="*/ 6858000 h 6858000"/>
              <a:gd name="connsiteX3" fmla="*/ 6091329 w 6712542"/>
              <a:gd name="connsiteY3" fmla="*/ 6858000 h 6858000"/>
              <a:gd name="connsiteX4" fmla="*/ 0 w 671254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12542" h="6858000">
                <a:moveTo>
                  <a:pt x="0" y="0"/>
                </a:moveTo>
                <a:lnTo>
                  <a:pt x="621213" y="0"/>
                </a:lnTo>
                <a:lnTo>
                  <a:pt x="6712542" y="6858000"/>
                </a:lnTo>
                <a:lnTo>
                  <a:pt x="6091329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ED8E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/>
          <p:cNvSpPr/>
          <p:nvPr/>
        </p:nvSpPr>
        <p:spPr>
          <a:xfrm>
            <a:off x="-31480" y="-3984465"/>
            <a:ext cx="9425423" cy="10844053"/>
          </a:xfrm>
          <a:prstGeom prst="rtTriangle">
            <a:avLst/>
          </a:prstGeom>
          <a:gradFill flip="none" rotWithShape="1"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793601" y="3637548"/>
            <a:ext cx="530239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PROJECT NAM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93601" y="4570016"/>
            <a:ext cx="530239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Project goal and description</a:t>
            </a:r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793601" y="4442336"/>
            <a:ext cx="4553099" cy="0"/>
          </a:xfrm>
          <a:prstGeom prst="line">
            <a:avLst/>
          </a:prstGeom>
          <a:ln>
            <a:solidFill>
              <a:schemeClr val="accent2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-2572856" y="6266382"/>
            <a:ext cx="2255520" cy="1828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1</a:t>
            </a:fld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 flipH="1">
            <a:off x="-2432422" y="174192"/>
            <a:ext cx="2255520" cy="182880"/>
          </a:xfrm>
          <a:prstGeom prst="roundRect">
            <a:avLst/>
          </a:prstGeom>
          <a:solidFill>
            <a:srgbClr val="009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/>
          <p:cNvSpPr/>
          <p:nvPr/>
        </p:nvSpPr>
        <p:spPr>
          <a:xfrm flipH="1">
            <a:off x="-1304662" y="448512"/>
            <a:ext cx="1273182" cy="182880"/>
          </a:xfrm>
          <a:prstGeom prst="roundRect">
            <a:avLst/>
          </a:prstGeom>
          <a:solidFill>
            <a:srgbClr val="009C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>
            <a:off x="-846690" y="5815882"/>
            <a:ext cx="681754" cy="1828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5900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8.70132E-7 9.13717E-7 L 1.14641 9.13717E-7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7314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2.8162E-6 -5.80615E-7 L 1.27484 -5.80615E-7 " pathEditMode="relative" rAng="0" ptsTypes="AA">
                                      <p:cBhvr>
                                        <p:cTn id="8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736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fill="remove" grpId="0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24345E-6 -2.64168E-6 L 1.32851 -2.64168E-6 " pathEditMode="relative" ptsTypes="AA">
                                      <p:cBhvr>
                                        <p:cTn id="10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fill="remove" grpId="0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3.24345E-6 -2.64168E-6 L 1.32851 -2.64168E-6 " pathEditMode="relative" ptsTypes="AA">
                                      <p:cBhvr>
                                        <p:cTn id="12" dur="3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4" grpId="0" animBg="1"/>
      <p:bldP spid="15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ree-Step Proc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47" name="Group 46"/>
          <p:cNvGrpSpPr/>
          <p:nvPr/>
        </p:nvGrpSpPr>
        <p:grpSpPr>
          <a:xfrm>
            <a:off x="836729" y="2178079"/>
            <a:ext cx="10516954" cy="3074966"/>
            <a:chOff x="963231" y="1542248"/>
            <a:chExt cx="10516954" cy="3074966"/>
          </a:xfrm>
        </p:grpSpPr>
        <p:grpSp>
          <p:nvGrpSpPr>
            <p:cNvPr id="28" name="Group 27"/>
            <p:cNvGrpSpPr/>
            <p:nvPr/>
          </p:nvGrpSpPr>
          <p:grpSpPr>
            <a:xfrm>
              <a:off x="963231" y="1542248"/>
              <a:ext cx="3018194" cy="3074966"/>
              <a:chOff x="1514774" y="1542248"/>
              <a:chExt cx="3018194" cy="307496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95339" y="1542248"/>
                <a:ext cx="884379" cy="88437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D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01</a:t>
                </a: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2172025" y="2599880"/>
                <a:ext cx="1703692" cy="313350"/>
              </a:xfrm>
              <a:prstGeom prst="rect">
                <a:avLst/>
              </a:prstGeom>
              <a:noFill/>
            </p:spPr>
            <p:txBody>
              <a:bodyPr wrap="square" lIns="0" tIns="0" rIns="0" bIns="36000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ATEGORY 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1514774" y="3259736"/>
                <a:ext cx="3018194" cy="282573"/>
              </a:xfrm>
              <a:prstGeom prst="rect">
                <a:avLst/>
              </a:prstGeom>
              <a:noFill/>
            </p:spPr>
            <p:txBody>
              <a:bodyPr wrap="square" lIns="0" tIns="0" rIns="0" bIns="36000" rtlCol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HIS IS A PLACEHOLDER TEXT</a:t>
                </a: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1514774" y="3715562"/>
                <a:ext cx="3018194" cy="682682"/>
              </a:xfrm>
              <a:prstGeom prst="rect">
                <a:avLst/>
              </a:prstGeom>
              <a:noFill/>
            </p:spPr>
            <p:txBody>
              <a:bodyPr wrap="square" lIns="0" tIns="0" rIns="0" bIns="36000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or replacing the placeholder text you need to click on the placeholder text  and insert your own text.</a:t>
                </a:r>
              </a:p>
            </p:txBody>
          </p:sp>
          <p:cxnSp>
            <p:nvCxnSpPr>
              <p:cNvPr id="16" name="Straight Connector 15"/>
              <p:cNvCxnSpPr/>
              <p:nvPr/>
            </p:nvCxnSpPr>
            <p:spPr>
              <a:xfrm>
                <a:off x="2595339" y="3086483"/>
                <a:ext cx="88437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" name="Group 19"/>
              <p:cNvGrpSpPr/>
              <p:nvPr/>
            </p:nvGrpSpPr>
            <p:grpSpPr>
              <a:xfrm>
                <a:off x="2581682" y="4571495"/>
                <a:ext cx="884379" cy="45719"/>
                <a:chOff x="2581682" y="4571495"/>
                <a:chExt cx="884379" cy="45719"/>
              </a:xfrm>
            </p:grpSpPr>
            <p:cxnSp>
              <p:nvCxnSpPr>
                <p:cNvPr id="18" name="Straight Connector 17"/>
                <p:cNvCxnSpPr/>
                <p:nvPr/>
              </p:nvCxnSpPr>
              <p:spPr>
                <a:xfrm>
                  <a:off x="2581682" y="4594354"/>
                  <a:ext cx="884379" cy="0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" name="Rectangle 18"/>
                <p:cNvSpPr/>
                <p:nvPr/>
              </p:nvSpPr>
              <p:spPr>
                <a:xfrm>
                  <a:off x="2827021" y="4571495"/>
                  <a:ext cx="393700" cy="45719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29" name="Group 28"/>
            <p:cNvGrpSpPr/>
            <p:nvPr/>
          </p:nvGrpSpPr>
          <p:grpSpPr>
            <a:xfrm>
              <a:off x="4712611" y="1542248"/>
              <a:ext cx="3018194" cy="3074966"/>
              <a:chOff x="1514774" y="1542248"/>
              <a:chExt cx="3018194" cy="3074966"/>
            </a:xfrm>
          </p:grpSpPr>
          <p:sp>
            <p:nvSpPr>
              <p:cNvPr id="30" name="Oval 29"/>
              <p:cNvSpPr/>
              <p:nvPr/>
            </p:nvSpPr>
            <p:spPr>
              <a:xfrm>
                <a:off x="2595339" y="1542248"/>
                <a:ext cx="884379" cy="88437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D" sz="2400" b="1" dirty="0">
                    <a:solidFill>
                      <a:schemeClr val="bg1"/>
                    </a:solidFill>
                  </a:rPr>
                  <a:t>02</a:t>
                </a:r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2172025" y="2599880"/>
                <a:ext cx="1703692" cy="313350"/>
              </a:xfrm>
              <a:prstGeom prst="rect">
                <a:avLst/>
              </a:prstGeom>
              <a:noFill/>
            </p:spPr>
            <p:txBody>
              <a:bodyPr wrap="square" lIns="0" tIns="0" rIns="0" bIns="36000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ATEGORY 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1514774" y="3259736"/>
                <a:ext cx="3018194" cy="282573"/>
              </a:xfrm>
              <a:prstGeom prst="rect">
                <a:avLst/>
              </a:prstGeom>
              <a:noFill/>
            </p:spPr>
            <p:txBody>
              <a:bodyPr wrap="square" lIns="0" tIns="0" rIns="0" bIns="36000" rtlCol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HIS IS A PLACEHOLDER TEXT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1514774" y="3715562"/>
                <a:ext cx="3018194" cy="682682"/>
              </a:xfrm>
              <a:prstGeom prst="rect">
                <a:avLst/>
              </a:prstGeom>
              <a:noFill/>
            </p:spPr>
            <p:txBody>
              <a:bodyPr wrap="square" lIns="0" tIns="0" rIns="0" bIns="36000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or replacing the placeholder text you need to click on the placeholder text  and insert your own text.</a:t>
                </a:r>
              </a:p>
            </p:txBody>
          </p:sp>
          <p:cxnSp>
            <p:nvCxnSpPr>
              <p:cNvPr id="34" name="Straight Connector 33"/>
              <p:cNvCxnSpPr/>
              <p:nvPr/>
            </p:nvCxnSpPr>
            <p:spPr>
              <a:xfrm>
                <a:off x="2595339" y="3086483"/>
                <a:ext cx="88437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5" name="Group 34"/>
              <p:cNvGrpSpPr/>
              <p:nvPr/>
            </p:nvGrpSpPr>
            <p:grpSpPr>
              <a:xfrm>
                <a:off x="2581682" y="4571495"/>
                <a:ext cx="884379" cy="45719"/>
                <a:chOff x="2581682" y="4571495"/>
                <a:chExt cx="884379" cy="45719"/>
              </a:xfrm>
            </p:grpSpPr>
            <p:cxnSp>
              <p:nvCxnSpPr>
                <p:cNvPr id="36" name="Straight Connector 35"/>
                <p:cNvCxnSpPr/>
                <p:nvPr/>
              </p:nvCxnSpPr>
              <p:spPr>
                <a:xfrm>
                  <a:off x="2581682" y="4594354"/>
                  <a:ext cx="884379" cy="0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Rectangle 36"/>
                <p:cNvSpPr/>
                <p:nvPr/>
              </p:nvSpPr>
              <p:spPr>
                <a:xfrm>
                  <a:off x="2827021" y="4571495"/>
                  <a:ext cx="393700" cy="45719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38" name="Group 37"/>
            <p:cNvGrpSpPr/>
            <p:nvPr/>
          </p:nvGrpSpPr>
          <p:grpSpPr>
            <a:xfrm>
              <a:off x="8461991" y="1542248"/>
              <a:ext cx="3018194" cy="3074966"/>
              <a:chOff x="1514774" y="1542248"/>
              <a:chExt cx="3018194" cy="3074966"/>
            </a:xfrm>
          </p:grpSpPr>
          <p:sp>
            <p:nvSpPr>
              <p:cNvPr id="39" name="Oval 38"/>
              <p:cNvSpPr/>
              <p:nvPr/>
            </p:nvSpPr>
            <p:spPr>
              <a:xfrm>
                <a:off x="2595339" y="1542248"/>
                <a:ext cx="884379" cy="884379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D" sz="2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03</a:t>
                </a:r>
                <a:endPara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2172025" y="2599880"/>
                <a:ext cx="1703692" cy="313350"/>
              </a:xfrm>
              <a:prstGeom prst="rect">
                <a:avLst/>
              </a:prstGeom>
              <a:noFill/>
            </p:spPr>
            <p:txBody>
              <a:bodyPr wrap="square" lIns="0" tIns="0" rIns="0" bIns="36000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ATEGORY </a:t>
                </a: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1514774" y="3259736"/>
                <a:ext cx="3018194" cy="282573"/>
              </a:xfrm>
              <a:prstGeom prst="rect">
                <a:avLst/>
              </a:prstGeom>
              <a:noFill/>
            </p:spPr>
            <p:txBody>
              <a:bodyPr wrap="square" lIns="0" tIns="0" rIns="0" bIns="36000" rtlCol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HIS IS A PLACEHOLDER TEXT</a:t>
                </a: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1514774" y="3715562"/>
                <a:ext cx="3018194" cy="682682"/>
              </a:xfrm>
              <a:prstGeom prst="rect">
                <a:avLst/>
              </a:prstGeom>
              <a:noFill/>
            </p:spPr>
            <p:txBody>
              <a:bodyPr wrap="square" lIns="0" tIns="0" rIns="0" bIns="36000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or replacing the placeholder text you need to click on the placeholder text  and insert your own text.</a:t>
                </a:r>
              </a:p>
            </p:txBody>
          </p:sp>
          <p:cxnSp>
            <p:nvCxnSpPr>
              <p:cNvPr id="43" name="Straight Connector 42"/>
              <p:cNvCxnSpPr/>
              <p:nvPr/>
            </p:nvCxnSpPr>
            <p:spPr>
              <a:xfrm>
                <a:off x="2595339" y="3086483"/>
                <a:ext cx="884379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4" name="Group 43"/>
              <p:cNvGrpSpPr/>
              <p:nvPr/>
            </p:nvGrpSpPr>
            <p:grpSpPr>
              <a:xfrm>
                <a:off x="2581682" y="4571495"/>
                <a:ext cx="884379" cy="45719"/>
                <a:chOff x="2581682" y="4571495"/>
                <a:chExt cx="884379" cy="45719"/>
              </a:xfrm>
            </p:grpSpPr>
            <p:cxnSp>
              <p:nvCxnSpPr>
                <p:cNvPr id="45" name="Straight Connector 44"/>
                <p:cNvCxnSpPr/>
                <p:nvPr/>
              </p:nvCxnSpPr>
              <p:spPr>
                <a:xfrm>
                  <a:off x="2581682" y="4594354"/>
                  <a:ext cx="884379" cy="0"/>
                </a:xfrm>
                <a:prstGeom prst="line">
                  <a:avLst/>
                </a:prstGeom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6" name="Rectangle 45"/>
                <p:cNvSpPr/>
                <p:nvPr/>
              </p:nvSpPr>
              <p:spPr>
                <a:xfrm>
                  <a:off x="2827021" y="4571495"/>
                  <a:ext cx="393700" cy="45719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6080579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0" y="1760140"/>
            <a:ext cx="12190413" cy="38477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spirational Quot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4723606" y="2351314"/>
            <a:ext cx="2743200" cy="2743200"/>
            <a:chOff x="334963" y="2351314"/>
            <a:chExt cx="2743200" cy="2743200"/>
          </a:xfrm>
        </p:grpSpPr>
        <p:sp>
          <p:nvSpPr>
            <p:cNvPr id="11" name="Oval 10"/>
            <p:cNvSpPr/>
            <p:nvPr/>
          </p:nvSpPr>
          <p:spPr>
            <a:xfrm>
              <a:off x="334963" y="2351314"/>
              <a:ext cx="2743200" cy="2743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/>
            <p:cNvSpPr/>
            <p:nvPr/>
          </p:nvSpPr>
          <p:spPr>
            <a:xfrm>
              <a:off x="459654" y="2476005"/>
              <a:ext cx="2493818" cy="2493818"/>
            </a:xfrm>
            <a:prstGeom prst="ellipse">
              <a:avLst/>
            </a:prstGeom>
            <a:gradFill>
              <a:gsLst>
                <a:gs pos="100000">
                  <a:schemeClr val="accent1"/>
                </a:gs>
                <a:gs pos="0">
                  <a:schemeClr val="accent4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uppieren 55"/>
            <p:cNvGrpSpPr/>
            <p:nvPr/>
          </p:nvGrpSpPr>
          <p:grpSpPr bwMode="gray">
            <a:xfrm>
              <a:off x="1087451" y="3265809"/>
              <a:ext cx="1238225" cy="914211"/>
              <a:chOff x="4146939" y="1814077"/>
              <a:chExt cx="369205" cy="272960"/>
            </a:xfrm>
            <a:solidFill>
              <a:schemeClr val="bg1"/>
            </a:solidFill>
          </p:grpSpPr>
          <p:sp>
            <p:nvSpPr>
              <p:cNvPr id="9" name="Freeform 144"/>
              <p:cNvSpPr>
                <a:spLocks/>
              </p:cNvSpPr>
              <p:nvPr/>
            </p:nvSpPr>
            <p:spPr bwMode="gray">
              <a:xfrm>
                <a:off x="4146939" y="1896123"/>
                <a:ext cx="219314" cy="190914"/>
              </a:xfrm>
              <a:custGeom>
                <a:avLst/>
                <a:gdLst>
                  <a:gd name="T0" fmla="*/ 418 w 695"/>
                  <a:gd name="T1" fmla="*/ 267 h 605"/>
                  <a:gd name="T2" fmla="*/ 418 w 695"/>
                  <a:gd name="T3" fmla="*/ 210 h 605"/>
                  <a:gd name="T4" fmla="*/ 418 w 695"/>
                  <a:gd name="T5" fmla="*/ 0 h 605"/>
                  <a:gd name="T6" fmla="*/ 0 w 695"/>
                  <a:gd name="T7" fmla="*/ 0 h 605"/>
                  <a:gd name="T8" fmla="*/ 0 w 695"/>
                  <a:gd name="T9" fmla="*/ 470 h 605"/>
                  <a:gd name="T10" fmla="*/ 123 w 695"/>
                  <a:gd name="T11" fmla="*/ 470 h 605"/>
                  <a:gd name="T12" fmla="*/ 123 w 695"/>
                  <a:gd name="T13" fmla="*/ 605 h 605"/>
                  <a:gd name="T14" fmla="*/ 279 w 695"/>
                  <a:gd name="T15" fmla="*/ 470 h 605"/>
                  <a:gd name="T16" fmla="*/ 695 w 695"/>
                  <a:gd name="T17" fmla="*/ 470 h 605"/>
                  <a:gd name="T18" fmla="*/ 695 w 695"/>
                  <a:gd name="T19" fmla="*/ 267 h 605"/>
                  <a:gd name="T20" fmla="*/ 475 w 695"/>
                  <a:gd name="T21" fmla="*/ 267 h 605"/>
                  <a:gd name="T22" fmla="*/ 418 w 695"/>
                  <a:gd name="T23" fmla="*/ 267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5" h="605">
                    <a:moveTo>
                      <a:pt x="418" y="267"/>
                    </a:moveTo>
                    <a:lnTo>
                      <a:pt x="418" y="210"/>
                    </a:lnTo>
                    <a:lnTo>
                      <a:pt x="418" y="0"/>
                    </a:lnTo>
                    <a:lnTo>
                      <a:pt x="0" y="0"/>
                    </a:lnTo>
                    <a:lnTo>
                      <a:pt x="0" y="470"/>
                    </a:lnTo>
                    <a:lnTo>
                      <a:pt x="123" y="470"/>
                    </a:lnTo>
                    <a:lnTo>
                      <a:pt x="123" y="605"/>
                    </a:lnTo>
                    <a:lnTo>
                      <a:pt x="279" y="470"/>
                    </a:lnTo>
                    <a:lnTo>
                      <a:pt x="695" y="470"/>
                    </a:lnTo>
                    <a:lnTo>
                      <a:pt x="695" y="267"/>
                    </a:lnTo>
                    <a:lnTo>
                      <a:pt x="475" y="267"/>
                    </a:lnTo>
                    <a:lnTo>
                      <a:pt x="418" y="26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lnSpc>
                    <a:spcPts val="2933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" name="Freeform 145"/>
              <p:cNvSpPr>
                <a:spLocks/>
              </p:cNvSpPr>
              <p:nvPr/>
            </p:nvSpPr>
            <p:spPr bwMode="gray">
              <a:xfrm>
                <a:off x="4296830" y="1814077"/>
                <a:ext cx="219314" cy="190914"/>
              </a:xfrm>
              <a:custGeom>
                <a:avLst/>
                <a:gdLst>
                  <a:gd name="T0" fmla="*/ 572 w 695"/>
                  <a:gd name="T1" fmla="*/ 605 h 605"/>
                  <a:gd name="T2" fmla="*/ 572 w 695"/>
                  <a:gd name="T3" fmla="*/ 470 h 605"/>
                  <a:gd name="T4" fmla="*/ 695 w 695"/>
                  <a:gd name="T5" fmla="*/ 470 h 605"/>
                  <a:gd name="T6" fmla="*/ 695 w 695"/>
                  <a:gd name="T7" fmla="*/ 0 h 605"/>
                  <a:gd name="T8" fmla="*/ 0 w 695"/>
                  <a:gd name="T9" fmla="*/ 0 h 605"/>
                  <a:gd name="T10" fmla="*/ 0 w 695"/>
                  <a:gd name="T11" fmla="*/ 260 h 605"/>
                  <a:gd name="T12" fmla="*/ 0 w 695"/>
                  <a:gd name="T13" fmla="*/ 470 h 605"/>
                  <a:gd name="T14" fmla="*/ 220 w 695"/>
                  <a:gd name="T15" fmla="*/ 470 h 605"/>
                  <a:gd name="T16" fmla="*/ 413 w 695"/>
                  <a:gd name="T17" fmla="*/ 470 h 605"/>
                  <a:gd name="T18" fmla="*/ 572 w 695"/>
                  <a:gd name="T19" fmla="*/ 605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5" h="605">
                    <a:moveTo>
                      <a:pt x="572" y="605"/>
                    </a:moveTo>
                    <a:lnTo>
                      <a:pt x="572" y="470"/>
                    </a:lnTo>
                    <a:lnTo>
                      <a:pt x="695" y="470"/>
                    </a:lnTo>
                    <a:lnTo>
                      <a:pt x="695" y="0"/>
                    </a:lnTo>
                    <a:lnTo>
                      <a:pt x="0" y="0"/>
                    </a:lnTo>
                    <a:lnTo>
                      <a:pt x="0" y="260"/>
                    </a:lnTo>
                    <a:lnTo>
                      <a:pt x="0" y="470"/>
                    </a:lnTo>
                    <a:lnTo>
                      <a:pt x="220" y="470"/>
                    </a:lnTo>
                    <a:lnTo>
                      <a:pt x="413" y="470"/>
                    </a:lnTo>
                    <a:lnTo>
                      <a:pt x="572" y="60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lnSpc>
                    <a:spcPts val="2933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334963" y="2508204"/>
            <a:ext cx="4612957" cy="477785"/>
            <a:chOff x="334963" y="2525765"/>
            <a:chExt cx="4612957" cy="477785"/>
          </a:xfrm>
        </p:grpSpPr>
        <p:sp>
          <p:nvSpPr>
            <p:cNvPr id="16" name="TextBox 15"/>
            <p:cNvSpPr txBox="1"/>
            <p:nvPr/>
          </p:nvSpPr>
          <p:spPr>
            <a:xfrm>
              <a:off x="334963" y="2525765"/>
              <a:ext cx="41452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“This is an incredible idea” – Director, Tom Thomsen</a:t>
              </a: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334963" y="2957831"/>
              <a:ext cx="4612957" cy="45719"/>
              <a:chOff x="334963" y="2957831"/>
              <a:chExt cx="4612957" cy="45719"/>
            </a:xfrm>
          </p:grpSpPr>
          <p:cxnSp>
            <p:nvCxnSpPr>
              <p:cNvPr id="17" name="Straight Connector 16"/>
              <p:cNvCxnSpPr>
                <a:cxnSpLocks/>
              </p:cNvCxnSpPr>
              <p:nvPr/>
            </p:nvCxnSpPr>
            <p:spPr>
              <a:xfrm>
                <a:off x="334963" y="2957831"/>
                <a:ext cx="4612957" cy="0"/>
              </a:xfrm>
              <a:prstGeom prst="line">
                <a:avLst/>
              </a:prstGeom>
              <a:ln>
                <a:solidFill>
                  <a:schemeClr val="accent3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tangle 18"/>
              <p:cNvSpPr/>
              <p:nvPr/>
            </p:nvSpPr>
            <p:spPr>
              <a:xfrm>
                <a:off x="334963" y="2957831"/>
                <a:ext cx="280986" cy="45719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</p:grpSp>
      <p:grpSp>
        <p:nvGrpSpPr>
          <p:cNvPr id="27" name="Group 26"/>
          <p:cNvGrpSpPr/>
          <p:nvPr/>
        </p:nvGrpSpPr>
        <p:grpSpPr>
          <a:xfrm>
            <a:off x="334963" y="3484022"/>
            <a:ext cx="4389437" cy="477785"/>
            <a:chOff x="334963" y="2525765"/>
            <a:chExt cx="4389437" cy="477785"/>
          </a:xfrm>
        </p:grpSpPr>
        <p:sp>
          <p:nvSpPr>
            <p:cNvPr id="28" name="TextBox 27"/>
            <p:cNvSpPr txBox="1"/>
            <p:nvPr/>
          </p:nvSpPr>
          <p:spPr>
            <a:xfrm>
              <a:off x="334963" y="2525765"/>
              <a:ext cx="41452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Replace this blurb with other details.</a:t>
              </a: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334963" y="2957831"/>
              <a:ext cx="4389437" cy="45719"/>
              <a:chOff x="334963" y="2957831"/>
              <a:chExt cx="4389437" cy="45719"/>
            </a:xfrm>
          </p:grpSpPr>
          <p:cxnSp>
            <p:nvCxnSpPr>
              <p:cNvPr id="30" name="Straight Connector 29"/>
              <p:cNvCxnSpPr>
                <a:cxnSpLocks/>
              </p:cNvCxnSpPr>
              <p:nvPr/>
            </p:nvCxnSpPr>
            <p:spPr>
              <a:xfrm>
                <a:off x="334963" y="2957831"/>
                <a:ext cx="4389437" cy="0"/>
              </a:xfrm>
              <a:prstGeom prst="line">
                <a:avLst/>
              </a:prstGeom>
              <a:ln>
                <a:solidFill>
                  <a:schemeClr val="accent3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Rectangle 30"/>
              <p:cNvSpPr/>
              <p:nvPr/>
            </p:nvSpPr>
            <p:spPr>
              <a:xfrm>
                <a:off x="334963" y="2957831"/>
                <a:ext cx="280986" cy="45719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</p:grpSp>
      <p:grpSp>
        <p:nvGrpSpPr>
          <p:cNvPr id="44" name="Group 43"/>
          <p:cNvGrpSpPr/>
          <p:nvPr/>
        </p:nvGrpSpPr>
        <p:grpSpPr>
          <a:xfrm>
            <a:off x="7294880" y="2996113"/>
            <a:ext cx="4279584" cy="1453603"/>
            <a:chOff x="7294880" y="2996113"/>
            <a:chExt cx="4279584" cy="1453603"/>
          </a:xfrm>
        </p:grpSpPr>
        <p:sp>
          <p:nvSpPr>
            <p:cNvPr id="23" name="TextBox 22"/>
            <p:cNvSpPr txBox="1"/>
            <p:nvPr/>
          </p:nvSpPr>
          <p:spPr>
            <a:xfrm flipH="1">
              <a:off x="7429183" y="2996113"/>
              <a:ext cx="41452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b="1" dirty="0">
                  <a:solidFill>
                    <a:schemeClr val="accent1"/>
                  </a:solidFill>
                </a:rPr>
                <a:t>Replace this blurb with other details.</a:t>
              </a:r>
            </a:p>
          </p:txBody>
        </p:sp>
        <p:grpSp>
          <p:nvGrpSpPr>
            <p:cNvPr id="24" name="Group 23"/>
            <p:cNvGrpSpPr/>
            <p:nvPr/>
          </p:nvGrpSpPr>
          <p:grpSpPr>
            <a:xfrm flipH="1">
              <a:off x="7426960" y="3428179"/>
              <a:ext cx="4147504" cy="45719"/>
              <a:chOff x="334962" y="2957831"/>
              <a:chExt cx="4147504" cy="45719"/>
            </a:xfrm>
          </p:grpSpPr>
          <p:cxnSp>
            <p:nvCxnSpPr>
              <p:cNvPr id="25" name="Straight Connector 24"/>
              <p:cNvCxnSpPr>
                <a:cxnSpLocks/>
              </p:cNvCxnSpPr>
              <p:nvPr/>
            </p:nvCxnSpPr>
            <p:spPr>
              <a:xfrm>
                <a:off x="334962" y="2957831"/>
                <a:ext cx="4147504" cy="0"/>
              </a:xfrm>
              <a:prstGeom prst="line">
                <a:avLst/>
              </a:prstGeom>
              <a:ln>
                <a:solidFill>
                  <a:schemeClr val="accent3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tangle 25"/>
              <p:cNvSpPr/>
              <p:nvPr/>
            </p:nvSpPr>
            <p:spPr>
              <a:xfrm>
                <a:off x="334963" y="2957831"/>
                <a:ext cx="280986" cy="45719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en-US" sz="1200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 flipH="1">
              <a:off x="7429183" y="3971931"/>
              <a:ext cx="41452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b="1" dirty="0">
                  <a:solidFill>
                    <a:schemeClr val="accent1"/>
                  </a:solidFill>
                </a:rPr>
                <a:t>Replace this blurb with other details.</a:t>
              </a:r>
            </a:p>
          </p:txBody>
        </p:sp>
        <p:grpSp>
          <p:nvGrpSpPr>
            <p:cNvPr id="34" name="Group 33"/>
            <p:cNvGrpSpPr/>
            <p:nvPr/>
          </p:nvGrpSpPr>
          <p:grpSpPr>
            <a:xfrm flipH="1">
              <a:off x="7294880" y="4403997"/>
              <a:ext cx="4279584" cy="45719"/>
              <a:chOff x="334962" y="2957831"/>
              <a:chExt cx="4279584" cy="45719"/>
            </a:xfrm>
          </p:grpSpPr>
          <p:cxnSp>
            <p:nvCxnSpPr>
              <p:cNvPr id="35" name="Straight Connector 34"/>
              <p:cNvCxnSpPr>
                <a:cxnSpLocks/>
              </p:cNvCxnSpPr>
              <p:nvPr/>
            </p:nvCxnSpPr>
            <p:spPr>
              <a:xfrm>
                <a:off x="334962" y="2957831"/>
                <a:ext cx="4279584" cy="0"/>
              </a:xfrm>
              <a:prstGeom prst="line">
                <a:avLst/>
              </a:prstGeom>
              <a:ln>
                <a:solidFill>
                  <a:schemeClr val="accent3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Rectangle 35"/>
              <p:cNvSpPr/>
              <p:nvPr/>
            </p:nvSpPr>
            <p:spPr>
              <a:xfrm>
                <a:off x="334963" y="2957831"/>
                <a:ext cx="280986" cy="45719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en-US" sz="1200"/>
              </a:p>
            </p:txBody>
          </p:sp>
        </p:grpSp>
      </p:grpSp>
      <p:grpSp>
        <p:nvGrpSpPr>
          <p:cNvPr id="38" name="Group 37"/>
          <p:cNvGrpSpPr/>
          <p:nvPr/>
        </p:nvGrpSpPr>
        <p:grpSpPr>
          <a:xfrm>
            <a:off x="334963" y="4459839"/>
            <a:ext cx="5039677" cy="477785"/>
            <a:chOff x="334963" y="2525765"/>
            <a:chExt cx="5039677" cy="477785"/>
          </a:xfrm>
        </p:grpSpPr>
        <p:sp>
          <p:nvSpPr>
            <p:cNvPr id="39" name="TextBox 38"/>
            <p:cNvSpPr txBox="1"/>
            <p:nvPr/>
          </p:nvSpPr>
          <p:spPr>
            <a:xfrm>
              <a:off x="334963" y="2525765"/>
              <a:ext cx="41452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Replace this blurb with other details.</a:t>
              </a: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334963" y="2957831"/>
              <a:ext cx="5039677" cy="45719"/>
              <a:chOff x="334963" y="2957831"/>
              <a:chExt cx="5039677" cy="45719"/>
            </a:xfrm>
          </p:grpSpPr>
          <p:cxnSp>
            <p:nvCxnSpPr>
              <p:cNvPr id="41" name="Straight Connector 40"/>
              <p:cNvCxnSpPr>
                <a:cxnSpLocks/>
              </p:cNvCxnSpPr>
              <p:nvPr/>
            </p:nvCxnSpPr>
            <p:spPr>
              <a:xfrm>
                <a:off x="334963" y="2957831"/>
                <a:ext cx="5039677" cy="0"/>
              </a:xfrm>
              <a:prstGeom prst="line">
                <a:avLst/>
              </a:prstGeom>
              <a:ln>
                <a:solidFill>
                  <a:schemeClr val="accent3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Rectangle 41"/>
              <p:cNvSpPr/>
              <p:nvPr/>
            </p:nvSpPr>
            <p:spPr>
              <a:xfrm>
                <a:off x="334963" y="2957831"/>
                <a:ext cx="280986" cy="45719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284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Rectangle 394"/>
          <p:cNvSpPr/>
          <p:nvPr/>
        </p:nvSpPr>
        <p:spPr>
          <a:xfrm>
            <a:off x="0" y="1214955"/>
            <a:ext cx="12190413" cy="50328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eature Develop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7" name="Picture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3623130"/>
              </p:ext>
            </p:extLst>
          </p:nvPr>
        </p:nvGraphicFramePr>
        <p:xfrm>
          <a:off x="618287" y="1404445"/>
          <a:ext cx="10953838" cy="46538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86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90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294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2945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2945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2945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12945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129451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129451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267455">
                <a:tc rowSpan="2">
                  <a:txBody>
                    <a:bodyPr/>
                    <a:lstStyle/>
                    <a:p>
                      <a:endParaRPr lang="en-US" sz="11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36000" marB="360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335F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sz="11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36000" marB="360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335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50" b="1" cap="all" baseline="0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</a:t>
                      </a:r>
                      <a:endParaRPr lang="en-US" sz="1050" b="1" cap="all" baseline="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36000" marB="360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335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50" b="1" cap="all" baseline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l</a:t>
                      </a:r>
                    </a:p>
                  </a:txBody>
                  <a:tcPr marL="108015" marR="108015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335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50" b="1" cap="all" baseline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</a:t>
                      </a:r>
                    </a:p>
                  </a:txBody>
                  <a:tcPr marL="108015" marR="108015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335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50" b="1" cap="all" baseline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loy</a:t>
                      </a:r>
                    </a:p>
                  </a:txBody>
                  <a:tcPr marL="108015" marR="108015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335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50" b="1" cap="all" baseline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ove</a:t>
                      </a:r>
                    </a:p>
                  </a:txBody>
                  <a:tcPr marL="108015" marR="108015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335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50" b="1" cap="all" baseline="0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</a:t>
                      </a:r>
                      <a:endParaRPr lang="en-US" sz="1050" b="1" cap="all" baseline="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335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 dirty="0">
                        <a:solidFill>
                          <a:schemeClr val="bg1"/>
                        </a:solidFill>
                      </a:endParaRPr>
                    </a:p>
                  </a:txBody>
                  <a:tcPr marL="108000" marR="108000" marT="108000" marB="108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2"/>
                        </a:gs>
                        <a:gs pos="50000">
                          <a:srgbClr val="005086"/>
                        </a:gs>
                        <a:gs pos="100000">
                          <a:schemeClr val="bg2"/>
                        </a:gs>
                      </a:gsLst>
                      <a:lin ang="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7455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y</a:t>
                      </a:r>
                    </a:p>
                  </a:txBody>
                  <a:tcPr marL="108015" marR="108015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335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y</a:t>
                      </a:r>
                    </a:p>
                  </a:txBody>
                  <a:tcPr marL="108015" marR="108015" marT="36000" marB="36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33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4599">
                <a:tc rowSpan="3">
                  <a:txBody>
                    <a:bodyPr/>
                    <a:lstStyle/>
                    <a:p>
                      <a:pPr algn="ctr"/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Y</a:t>
                      </a:r>
                    </a:p>
                  </a:txBody>
                  <a:tcPr marL="108015" marR="108015" marT="0" marB="0" vert="vert27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 Messaging</a:t>
                      </a: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4599">
                <a:tc v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28800" marB="288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Brand</a:t>
                      </a:r>
                      <a:r>
                        <a:rPr lang="en-US" sz="1050" baseline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aunch</a:t>
                      </a: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4599">
                <a:tc v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28800" marB="288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mr-IN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05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4599">
                <a:tc rowSpan="3">
                  <a:txBody>
                    <a:bodyPr/>
                    <a:lstStyle/>
                    <a:p>
                      <a:pPr algn="ctr"/>
                      <a:endParaRPr lang="en-US" sz="105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0" marB="0" vert="vert27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mr-IN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05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74599">
                <a:tc v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28800" marB="288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mr-IN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05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74599">
                <a:tc v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28800" marB="288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mr-IN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05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74599">
                <a:tc rowSpan="3">
                  <a:txBody>
                    <a:bodyPr/>
                    <a:lstStyle/>
                    <a:p>
                      <a:pPr algn="ctr"/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Y</a:t>
                      </a:r>
                    </a:p>
                  </a:txBody>
                  <a:tcPr marL="108015" marR="108015" marT="0" marB="0" vert="vert27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 Research</a:t>
                      </a:r>
                      <a:endParaRPr lang="en-US" sz="1050" kern="12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74599">
                <a:tc v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28800" marB="288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 Segmentation</a:t>
                      </a: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74599">
                <a:tc v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28800" marB="288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urney Mapping</a:t>
                      </a:r>
                      <a:endParaRPr lang="en-US" sz="1050" kern="12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74599">
                <a:tc rowSpan="2">
                  <a:txBody>
                    <a:bodyPr/>
                    <a:lstStyle/>
                    <a:p>
                      <a:pPr algn="ctr"/>
                      <a:endParaRPr lang="en-US" sz="105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0" marB="0" vert="vert27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mr-IN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05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74599">
                <a:tc v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28800" marB="288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mr-IN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05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74599">
                <a:tc rowSpan="4">
                  <a:txBody>
                    <a:bodyPr/>
                    <a:lstStyle/>
                    <a:p>
                      <a:pPr algn="ctr"/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Y</a:t>
                      </a:r>
                    </a:p>
                  </a:txBody>
                  <a:tcPr marL="108015" marR="108015" marT="0" marB="0" vert="vert27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mr-IN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05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74599">
                <a:tc v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28800" marB="288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mr-IN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05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74599">
                <a:tc v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28800" marB="288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mr-IN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05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74599">
                <a:tc vMerge="1">
                  <a:txBody>
                    <a:bodyPr/>
                    <a:lstStyle/>
                    <a:p>
                      <a:endParaRPr lang="de-DE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28800" marB="288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</a:t>
                      </a:r>
                      <a:r>
                        <a:rPr lang="mr-IN" sz="105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en-US" sz="105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rgbClr val="0833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15" marR="108015" marT="28800" marB="28800" anchor="ctr">
                    <a:lnL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33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797" name="Rechteck 26">
            <a:extLst>
              <a:ext uri="{FF2B5EF4-FFF2-40B4-BE49-F238E27FC236}">
                <a16:creationId xmlns:a16="http://schemas.microsoft.com/office/drawing/2014/main" xmlns="" id="{C74FDDDA-37E3-4DBA-B927-7178CA2FBB5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5826862"/>
            <a:ext cx="102677" cy="157378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798" name="Rechteck 26">
            <a:extLst>
              <a:ext uri="{FF2B5EF4-FFF2-40B4-BE49-F238E27FC236}">
                <a16:creationId xmlns:a16="http://schemas.microsoft.com/office/drawing/2014/main" xmlns="" id="{AFD52035-EC6E-434F-898D-BF60225B34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2021587"/>
            <a:ext cx="102677" cy="157379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799" name="Rechteck 26">
            <a:extLst>
              <a:ext uri="{FF2B5EF4-FFF2-40B4-BE49-F238E27FC236}">
                <a16:creationId xmlns:a16="http://schemas.microsoft.com/office/drawing/2014/main" xmlns="" id="{AAEBA0A9-3CCC-4E40-B16E-B0F74F8A3E5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2293355"/>
            <a:ext cx="102677" cy="157379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00" name="Rechteck 26">
            <a:extLst>
              <a:ext uri="{FF2B5EF4-FFF2-40B4-BE49-F238E27FC236}">
                <a16:creationId xmlns:a16="http://schemas.microsoft.com/office/drawing/2014/main" xmlns="" id="{CAA9451E-12AE-4811-98AE-DE1E9EF922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2565122"/>
            <a:ext cx="102677" cy="157379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01" name="Rechteck 26">
            <a:extLst>
              <a:ext uri="{FF2B5EF4-FFF2-40B4-BE49-F238E27FC236}">
                <a16:creationId xmlns:a16="http://schemas.microsoft.com/office/drawing/2014/main" xmlns="" id="{EBA9F664-A1BE-4C28-83B9-CEB5074C554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2836890"/>
            <a:ext cx="102677" cy="157379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02" name="Rechteck 26">
            <a:extLst>
              <a:ext uri="{FF2B5EF4-FFF2-40B4-BE49-F238E27FC236}">
                <a16:creationId xmlns:a16="http://schemas.microsoft.com/office/drawing/2014/main" xmlns="" id="{BE1FF49E-A2AB-45F8-B790-C263ADA7B2F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3108658"/>
            <a:ext cx="102677" cy="157378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03" name="Rechteck 26">
            <a:extLst>
              <a:ext uri="{FF2B5EF4-FFF2-40B4-BE49-F238E27FC236}">
                <a16:creationId xmlns:a16="http://schemas.microsoft.com/office/drawing/2014/main" xmlns="" id="{2C131E47-1C83-438C-BEFA-428DD299B53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3380425"/>
            <a:ext cx="102677" cy="157378"/>
          </a:xfrm>
          <a:prstGeom prst="rect">
            <a:avLst/>
          </a:prstGeom>
          <a:solidFill>
            <a:srgbClr val="CC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04" name="Rechteck 26">
            <a:extLst>
              <a:ext uri="{FF2B5EF4-FFF2-40B4-BE49-F238E27FC236}">
                <a16:creationId xmlns:a16="http://schemas.microsoft.com/office/drawing/2014/main" xmlns="" id="{3DED2819-8CB4-4D5B-B7F6-E7CE004B95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3652191"/>
            <a:ext cx="102677" cy="157378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05" name="Rechteck 26">
            <a:extLst>
              <a:ext uri="{FF2B5EF4-FFF2-40B4-BE49-F238E27FC236}">
                <a16:creationId xmlns:a16="http://schemas.microsoft.com/office/drawing/2014/main" xmlns="" id="{CCD33F26-FD32-47F0-8DD2-6F7E9D1225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72759" y="3923958"/>
            <a:ext cx="102677" cy="157378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06" name="Rechteck 26">
            <a:extLst>
              <a:ext uri="{FF2B5EF4-FFF2-40B4-BE49-F238E27FC236}">
                <a16:creationId xmlns:a16="http://schemas.microsoft.com/office/drawing/2014/main" xmlns="" id="{27384B02-999B-48C6-ABFC-8C3EFFDE1E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72759" y="4195725"/>
            <a:ext cx="102677" cy="157378"/>
          </a:xfrm>
          <a:prstGeom prst="rect">
            <a:avLst/>
          </a:prstGeom>
          <a:solidFill>
            <a:srgbClr val="B3E900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07" name="Rechteck 26">
            <a:extLst>
              <a:ext uri="{FF2B5EF4-FFF2-40B4-BE49-F238E27FC236}">
                <a16:creationId xmlns:a16="http://schemas.microsoft.com/office/drawing/2014/main" xmlns="" id="{BFF8203F-6922-48C7-8DC1-AA3E8F4B1F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4467492"/>
            <a:ext cx="102677" cy="157643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08" name="Rechteck 26">
            <a:extLst>
              <a:ext uri="{FF2B5EF4-FFF2-40B4-BE49-F238E27FC236}">
                <a16:creationId xmlns:a16="http://schemas.microsoft.com/office/drawing/2014/main" xmlns="" id="{8B7CACE3-9C2D-474B-8488-79E4E4D0892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4739524"/>
            <a:ext cx="102677" cy="157643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09" name="Rechteck 26">
            <a:extLst>
              <a:ext uri="{FF2B5EF4-FFF2-40B4-BE49-F238E27FC236}">
                <a16:creationId xmlns:a16="http://schemas.microsoft.com/office/drawing/2014/main" xmlns="" id="{1CA36382-5A95-46B9-B4D1-5756AD17D1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5011556"/>
            <a:ext cx="102677" cy="157378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10" name="Rechteck 26">
            <a:extLst>
              <a:ext uri="{FF2B5EF4-FFF2-40B4-BE49-F238E27FC236}">
                <a16:creationId xmlns:a16="http://schemas.microsoft.com/office/drawing/2014/main" xmlns="" id="{3722766F-BE5A-46F2-98B1-997094C444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5283323"/>
            <a:ext cx="102677" cy="157378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11" name="Rechteck 26">
            <a:extLst>
              <a:ext uri="{FF2B5EF4-FFF2-40B4-BE49-F238E27FC236}">
                <a16:creationId xmlns:a16="http://schemas.microsoft.com/office/drawing/2014/main" xmlns="" id="{A2C568F2-FCBE-463A-A009-DEF02BCEB5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67540" y="5555089"/>
            <a:ext cx="102677" cy="157378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13" name="Rechteck 26">
            <a:extLst>
              <a:ext uri="{FF2B5EF4-FFF2-40B4-BE49-F238E27FC236}">
                <a16:creationId xmlns:a16="http://schemas.microsoft.com/office/drawing/2014/main" xmlns="" id="{9053FB9E-CA09-4399-8173-43EA2F20057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79" y="5826862"/>
            <a:ext cx="102677" cy="157378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14" name="Rechteck 26">
            <a:extLst>
              <a:ext uri="{FF2B5EF4-FFF2-40B4-BE49-F238E27FC236}">
                <a16:creationId xmlns:a16="http://schemas.microsoft.com/office/drawing/2014/main" xmlns="" id="{BDA7C576-81DB-430A-AA85-29E618ECD1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80" y="2021587"/>
            <a:ext cx="102677" cy="157379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15" name="Rechteck 26">
            <a:extLst>
              <a:ext uri="{FF2B5EF4-FFF2-40B4-BE49-F238E27FC236}">
                <a16:creationId xmlns:a16="http://schemas.microsoft.com/office/drawing/2014/main" xmlns="" id="{B2ED33D2-ACDF-4C97-ACD9-4FBB17EC25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80" y="2293355"/>
            <a:ext cx="102677" cy="157379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16" name="Rechteck 26">
            <a:extLst>
              <a:ext uri="{FF2B5EF4-FFF2-40B4-BE49-F238E27FC236}">
                <a16:creationId xmlns:a16="http://schemas.microsoft.com/office/drawing/2014/main" xmlns="" id="{82D73E4A-B7C9-49CD-A7C9-D95ED62BA0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80" y="2565122"/>
            <a:ext cx="102677" cy="157379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8" rIns="91422" bIns="45718"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17" name="Rechteck 26">
            <a:extLst>
              <a:ext uri="{FF2B5EF4-FFF2-40B4-BE49-F238E27FC236}">
                <a16:creationId xmlns:a16="http://schemas.microsoft.com/office/drawing/2014/main" xmlns="" id="{06F6EDF5-B26A-442B-8340-CE8B5AA59AE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79" y="2836890"/>
            <a:ext cx="102677" cy="157379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18" name="Rechteck 26">
            <a:extLst>
              <a:ext uri="{FF2B5EF4-FFF2-40B4-BE49-F238E27FC236}">
                <a16:creationId xmlns:a16="http://schemas.microsoft.com/office/drawing/2014/main" xmlns="" id="{102235A8-2FB5-4137-801E-C3F0BE34956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79" y="3108658"/>
            <a:ext cx="102677" cy="157378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19" name="Rechteck 26">
            <a:extLst>
              <a:ext uri="{FF2B5EF4-FFF2-40B4-BE49-F238E27FC236}">
                <a16:creationId xmlns:a16="http://schemas.microsoft.com/office/drawing/2014/main" xmlns="" id="{804AD24C-9CA8-4223-9B4F-243423CA22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79" y="3380425"/>
            <a:ext cx="102677" cy="157378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20" name="Rechteck 26">
            <a:extLst>
              <a:ext uri="{FF2B5EF4-FFF2-40B4-BE49-F238E27FC236}">
                <a16:creationId xmlns:a16="http://schemas.microsoft.com/office/drawing/2014/main" xmlns="" id="{A4830612-F84D-40BA-917D-58073AE309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79" y="3652191"/>
            <a:ext cx="102677" cy="157378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8" rIns="91422" bIns="45718"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21" name="Rechteck 26">
            <a:extLst>
              <a:ext uri="{FF2B5EF4-FFF2-40B4-BE49-F238E27FC236}">
                <a16:creationId xmlns:a16="http://schemas.microsoft.com/office/drawing/2014/main" xmlns="" id="{C170E41A-1013-4F53-B006-00D07B7A6B1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7499" y="3923958"/>
            <a:ext cx="102677" cy="157378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22" name="Rechteck 26">
            <a:extLst>
              <a:ext uri="{FF2B5EF4-FFF2-40B4-BE49-F238E27FC236}">
                <a16:creationId xmlns:a16="http://schemas.microsoft.com/office/drawing/2014/main" xmlns="" id="{FF80D018-1DC0-45D4-986D-87C1B434F4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7499" y="4195725"/>
            <a:ext cx="102677" cy="157378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23" name="Rechteck 26">
            <a:extLst>
              <a:ext uri="{FF2B5EF4-FFF2-40B4-BE49-F238E27FC236}">
                <a16:creationId xmlns:a16="http://schemas.microsoft.com/office/drawing/2014/main" xmlns="" id="{BBDB9BBD-877F-47DA-84E8-E3AD617D71C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79" y="4467492"/>
            <a:ext cx="102677" cy="157643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24" name="Rechteck 26">
            <a:extLst>
              <a:ext uri="{FF2B5EF4-FFF2-40B4-BE49-F238E27FC236}">
                <a16:creationId xmlns:a16="http://schemas.microsoft.com/office/drawing/2014/main" xmlns="" id="{F727AB03-942A-4EDC-9A6C-6B4FA35CE1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79" y="4739524"/>
            <a:ext cx="102677" cy="157643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25" name="Rechteck 26">
            <a:extLst>
              <a:ext uri="{FF2B5EF4-FFF2-40B4-BE49-F238E27FC236}">
                <a16:creationId xmlns:a16="http://schemas.microsoft.com/office/drawing/2014/main" xmlns="" id="{1AB476DE-9679-4B39-969E-E9DFC82C42F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79" y="5011556"/>
            <a:ext cx="102677" cy="157378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26" name="Rechteck 26">
            <a:extLst>
              <a:ext uri="{FF2B5EF4-FFF2-40B4-BE49-F238E27FC236}">
                <a16:creationId xmlns:a16="http://schemas.microsoft.com/office/drawing/2014/main" xmlns="" id="{0967A306-E5B5-4C34-9126-176047D6E60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79" y="5283323"/>
            <a:ext cx="102677" cy="157378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27" name="Rechteck 26">
            <a:extLst>
              <a:ext uri="{FF2B5EF4-FFF2-40B4-BE49-F238E27FC236}">
                <a16:creationId xmlns:a16="http://schemas.microsoft.com/office/drawing/2014/main" xmlns="" id="{DD4557EC-037C-4940-9EC9-9069689EA3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2279" y="5555089"/>
            <a:ext cx="102677" cy="157378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29" name="Rechteck 26">
            <a:extLst>
              <a:ext uri="{FF2B5EF4-FFF2-40B4-BE49-F238E27FC236}">
                <a16:creationId xmlns:a16="http://schemas.microsoft.com/office/drawing/2014/main" xmlns="" id="{4206625F-E7B9-4390-AFBE-E09B2FADC79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5841423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30" name="Rechteck 1">
            <a:extLst>
              <a:ext uri="{FF2B5EF4-FFF2-40B4-BE49-F238E27FC236}">
                <a16:creationId xmlns:a16="http://schemas.microsoft.com/office/drawing/2014/main" xmlns="" id="{38E1EBB5-F9B0-4D66-9E3B-600305F408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76791" y="5841423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31" name="Rechteck 20">
            <a:extLst>
              <a:ext uri="{FF2B5EF4-FFF2-40B4-BE49-F238E27FC236}">
                <a16:creationId xmlns:a16="http://schemas.microsoft.com/office/drawing/2014/main" xmlns="" id="{606F09BE-576A-4513-AA61-3D52CC69368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92739" y="5841423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32" name="Rechteck 22">
            <a:extLst>
              <a:ext uri="{FF2B5EF4-FFF2-40B4-BE49-F238E27FC236}">
                <a16:creationId xmlns:a16="http://schemas.microsoft.com/office/drawing/2014/main" xmlns="" id="{9F0C8D79-1C03-43F3-B33A-0F4A811D63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0426" y="5841423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33" name="Rechteck 23">
            <a:extLst>
              <a:ext uri="{FF2B5EF4-FFF2-40B4-BE49-F238E27FC236}">
                <a16:creationId xmlns:a16="http://schemas.microsoft.com/office/drawing/2014/main" xmlns="" id="{89C38B20-7654-4A7B-B9E4-4CEAF650A5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5841423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34" name="Rechteck 24">
            <a:extLst>
              <a:ext uri="{FF2B5EF4-FFF2-40B4-BE49-F238E27FC236}">
                <a16:creationId xmlns:a16="http://schemas.microsoft.com/office/drawing/2014/main" xmlns="" id="{BFDBB26A-A18E-4A26-A08D-BF683C03E8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5841423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35" name="Rechteck 25">
            <a:extLst>
              <a:ext uri="{FF2B5EF4-FFF2-40B4-BE49-F238E27FC236}">
                <a16:creationId xmlns:a16="http://schemas.microsoft.com/office/drawing/2014/main" xmlns="" id="{A211B73B-6B37-485A-9B55-9207C6D1CD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5841423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36" name="Rechteck 26">
            <a:extLst>
              <a:ext uri="{FF2B5EF4-FFF2-40B4-BE49-F238E27FC236}">
                <a16:creationId xmlns:a16="http://schemas.microsoft.com/office/drawing/2014/main" xmlns="" id="{840A1780-F6BB-44CB-AACC-57E1903631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2021585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37" name="Rechteck 23">
            <a:extLst>
              <a:ext uri="{FF2B5EF4-FFF2-40B4-BE49-F238E27FC236}">
                <a16:creationId xmlns:a16="http://schemas.microsoft.com/office/drawing/2014/main" xmlns="" id="{D2886E32-2AA7-4E86-AE77-A8A56B959C6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2021585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38" name="Rechteck 24">
            <a:extLst>
              <a:ext uri="{FF2B5EF4-FFF2-40B4-BE49-F238E27FC236}">
                <a16:creationId xmlns:a16="http://schemas.microsoft.com/office/drawing/2014/main" xmlns="" id="{F4FA81D9-35D8-4B38-9707-BE87FA5F2CC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2021585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39" name="Rechteck 25">
            <a:extLst>
              <a:ext uri="{FF2B5EF4-FFF2-40B4-BE49-F238E27FC236}">
                <a16:creationId xmlns:a16="http://schemas.microsoft.com/office/drawing/2014/main" xmlns="" id="{DF5A18F2-B770-4FAC-9FEF-8E261E0F73E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2021585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40" name="Rechteck 26">
            <a:extLst>
              <a:ext uri="{FF2B5EF4-FFF2-40B4-BE49-F238E27FC236}">
                <a16:creationId xmlns:a16="http://schemas.microsoft.com/office/drawing/2014/main" xmlns="" id="{3E65C724-0DDE-44F3-87E0-50052418D8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2295213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41" name="Rechteck 23">
            <a:extLst>
              <a:ext uri="{FF2B5EF4-FFF2-40B4-BE49-F238E27FC236}">
                <a16:creationId xmlns:a16="http://schemas.microsoft.com/office/drawing/2014/main" xmlns="" id="{8BF6D1C4-FF65-4818-B648-42F25A40FA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2295213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42" name="Rechteck 24">
            <a:extLst>
              <a:ext uri="{FF2B5EF4-FFF2-40B4-BE49-F238E27FC236}">
                <a16:creationId xmlns:a16="http://schemas.microsoft.com/office/drawing/2014/main" xmlns="" id="{A9A919BE-C21C-4672-BCE5-C4DF3FAAEB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2295213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43" name="Rechteck 25">
            <a:extLst>
              <a:ext uri="{FF2B5EF4-FFF2-40B4-BE49-F238E27FC236}">
                <a16:creationId xmlns:a16="http://schemas.microsoft.com/office/drawing/2014/main" xmlns="" id="{E1C0188E-3427-488B-8AF2-FF61E67B90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2295213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44" name="Rechteck 26">
            <a:extLst>
              <a:ext uri="{FF2B5EF4-FFF2-40B4-BE49-F238E27FC236}">
                <a16:creationId xmlns:a16="http://schemas.microsoft.com/office/drawing/2014/main" xmlns="" id="{91C42C89-6DA6-40C7-8BB0-59D0C6A79B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256884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45" name="Rechteck 23">
            <a:extLst>
              <a:ext uri="{FF2B5EF4-FFF2-40B4-BE49-F238E27FC236}">
                <a16:creationId xmlns:a16="http://schemas.microsoft.com/office/drawing/2014/main" xmlns="" id="{BB08DB9D-8EBF-4131-9B7B-5E71ABD624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256884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46" name="Rechteck 24">
            <a:extLst>
              <a:ext uri="{FF2B5EF4-FFF2-40B4-BE49-F238E27FC236}">
                <a16:creationId xmlns:a16="http://schemas.microsoft.com/office/drawing/2014/main" xmlns="" id="{96A0514E-7F36-46F4-BD52-D3AD70A99E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256884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47" name="Rechteck 25">
            <a:extLst>
              <a:ext uri="{FF2B5EF4-FFF2-40B4-BE49-F238E27FC236}">
                <a16:creationId xmlns:a16="http://schemas.microsoft.com/office/drawing/2014/main" xmlns="" id="{FD1E514A-5738-43EB-9415-E93556389C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256884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48" name="Rechteck 26">
            <a:extLst>
              <a:ext uri="{FF2B5EF4-FFF2-40B4-BE49-F238E27FC236}">
                <a16:creationId xmlns:a16="http://schemas.microsoft.com/office/drawing/2014/main" xmlns="" id="{8F92098C-CFCB-4D8D-819F-9829646E83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2842470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49" name="Rechteck 23">
            <a:extLst>
              <a:ext uri="{FF2B5EF4-FFF2-40B4-BE49-F238E27FC236}">
                <a16:creationId xmlns:a16="http://schemas.microsoft.com/office/drawing/2014/main" xmlns="" id="{5CE7A9CF-432C-40D4-89E5-0A27DAFCD14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2842470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50" name="Rechteck 24">
            <a:extLst>
              <a:ext uri="{FF2B5EF4-FFF2-40B4-BE49-F238E27FC236}">
                <a16:creationId xmlns:a16="http://schemas.microsoft.com/office/drawing/2014/main" xmlns="" id="{7D172557-632C-46AB-926E-6BB6551AAC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2842470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51" name="Rechteck 25">
            <a:extLst>
              <a:ext uri="{FF2B5EF4-FFF2-40B4-BE49-F238E27FC236}">
                <a16:creationId xmlns:a16="http://schemas.microsoft.com/office/drawing/2014/main" xmlns="" id="{CB522D14-C077-4548-A45C-5E8D0D31DAF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2842470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52" name="Rechteck 26">
            <a:extLst>
              <a:ext uri="{FF2B5EF4-FFF2-40B4-BE49-F238E27FC236}">
                <a16:creationId xmlns:a16="http://schemas.microsoft.com/office/drawing/2014/main" xmlns="" id="{D7048AE1-4668-42AA-A67F-5413622245E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3116100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53" name="Rechteck 23">
            <a:extLst>
              <a:ext uri="{FF2B5EF4-FFF2-40B4-BE49-F238E27FC236}">
                <a16:creationId xmlns:a16="http://schemas.microsoft.com/office/drawing/2014/main" xmlns="" id="{5F60DE99-24FC-47B0-89F0-7E8E216435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3116100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54" name="Rechteck 24">
            <a:extLst>
              <a:ext uri="{FF2B5EF4-FFF2-40B4-BE49-F238E27FC236}">
                <a16:creationId xmlns:a16="http://schemas.microsoft.com/office/drawing/2014/main" xmlns="" id="{8D085957-A106-472F-B293-06D28D889F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3116100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55" name="Rechteck 25">
            <a:extLst>
              <a:ext uri="{FF2B5EF4-FFF2-40B4-BE49-F238E27FC236}">
                <a16:creationId xmlns:a16="http://schemas.microsoft.com/office/drawing/2014/main" xmlns="" id="{9C59969E-9494-4346-9D39-76AE87470C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3116100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56" name="Rechteck 26">
            <a:extLst>
              <a:ext uri="{FF2B5EF4-FFF2-40B4-BE49-F238E27FC236}">
                <a16:creationId xmlns:a16="http://schemas.microsoft.com/office/drawing/2014/main" xmlns="" id="{EDD05B79-C4F9-4695-8325-73B303D16E3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3389728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57" name="Rechteck 1">
            <a:extLst>
              <a:ext uri="{FF2B5EF4-FFF2-40B4-BE49-F238E27FC236}">
                <a16:creationId xmlns:a16="http://schemas.microsoft.com/office/drawing/2014/main" xmlns="" id="{72D45AD3-6877-4A09-A048-A5DBAC3F470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76791" y="3389728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58" name="Rechteck 20">
            <a:extLst>
              <a:ext uri="{FF2B5EF4-FFF2-40B4-BE49-F238E27FC236}">
                <a16:creationId xmlns:a16="http://schemas.microsoft.com/office/drawing/2014/main" xmlns="" id="{FD426C19-7F3D-46FD-9064-B698163412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92739" y="3389728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59" name="Rechteck 22">
            <a:extLst>
              <a:ext uri="{FF2B5EF4-FFF2-40B4-BE49-F238E27FC236}">
                <a16:creationId xmlns:a16="http://schemas.microsoft.com/office/drawing/2014/main" xmlns="" id="{5B073FAF-B0EB-43D3-BA8D-DCB48AB0EA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0426" y="3389728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60" name="Rechteck 23">
            <a:extLst>
              <a:ext uri="{FF2B5EF4-FFF2-40B4-BE49-F238E27FC236}">
                <a16:creationId xmlns:a16="http://schemas.microsoft.com/office/drawing/2014/main" xmlns="" id="{1B5458B6-648F-4549-8FBB-F18E0AD6EA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3389728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61" name="Rechteck 24">
            <a:extLst>
              <a:ext uri="{FF2B5EF4-FFF2-40B4-BE49-F238E27FC236}">
                <a16:creationId xmlns:a16="http://schemas.microsoft.com/office/drawing/2014/main" xmlns="" id="{6331F7BF-02A9-4CDB-AA1C-2EA2812F02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3389728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62" name="Rechteck 25">
            <a:extLst>
              <a:ext uri="{FF2B5EF4-FFF2-40B4-BE49-F238E27FC236}">
                <a16:creationId xmlns:a16="http://schemas.microsoft.com/office/drawing/2014/main" xmlns="" id="{EBCCA055-950B-4E6B-B593-1EA5E49BE9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3389728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63" name="Rechteck 26">
            <a:extLst>
              <a:ext uri="{FF2B5EF4-FFF2-40B4-BE49-F238E27FC236}">
                <a16:creationId xmlns:a16="http://schemas.microsoft.com/office/drawing/2014/main" xmlns="" id="{EE223D31-8FD4-4358-9E2F-383222AD88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3654737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64" name="Rechteck 1">
            <a:extLst>
              <a:ext uri="{FF2B5EF4-FFF2-40B4-BE49-F238E27FC236}">
                <a16:creationId xmlns:a16="http://schemas.microsoft.com/office/drawing/2014/main" xmlns="" id="{46F207A5-46E8-42FA-BDB6-C8B58B1B4F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76791" y="3654737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65" name="Rechteck 20">
            <a:extLst>
              <a:ext uri="{FF2B5EF4-FFF2-40B4-BE49-F238E27FC236}">
                <a16:creationId xmlns:a16="http://schemas.microsoft.com/office/drawing/2014/main" xmlns="" id="{BE69C947-E971-4C7A-AEFF-6BE26356EF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92739" y="3654737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66" name="Rechteck 22">
            <a:extLst>
              <a:ext uri="{FF2B5EF4-FFF2-40B4-BE49-F238E27FC236}">
                <a16:creationId xmlns:a16="http://schemas.microsoft.com/office/drawing/2014/main" xmlns="" id="{7E2AE32E-8AF4-4118-A615-0B936B4DBB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0426" y="3654737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67" name="Rechteck 23">
            <a:extLst>
              <a:ext uri="{FF2B5EF4-FFF2-40B4-BE49-F238E27FC236}">
                <a16:creationId xmlns:a16="http://schemas.microsoft.com/office/drawing/2014/main" xmlns="" id="{D19B0879-4C6E-42B6-9855-83E4F7D309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3654737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68" name="Rechteck 24">
            <a:extLst>
              <a:ext uri="{FF2B5EF4-FFF2-40B4-BE49-F238E27FC236}">
                <a16:creationId xmlns:a16="http://schemas.microsoft.com/office/drawing/2014/main" xmlns="" id="{8FEE5581-579F-4A86-B6B8-DB3D9690D6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3654737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69" name="Rechteck 25">
            <a:extLst>
              <a:ext uri="{FF2B5EF4-FFF2-40B4-BE49-F238E27FC236}">
                <a16:creationId xmlns:a16="http://schemas.microsoft.com/office/drawing/2014/main" xmlns="" id="{A00F0894-A5C3-498C-8ED2-9E234767F03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3654737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70" name="Rechteck 26">
            <a:extLst>
              <a:ext uri="{FF2B5EF4-FFF2-40B4-BE49-F238E27FC236}">
                <a16:creationId xmlns:a16="http://schemas.microsoft.com/office/drawing/2014/main" xmlns="" id="{8CC0847A-95A8-4861-B8FE-8D8CF78229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3928365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71" name="Rechteck 1">
            <a:extLst>
              <a:ext uri="{FF2B5EF4-FFF2-40B4-BE49-F238E27FC236}">
                <a16:creationId xmlns:a16="http://schemas.microsoft.com/office/drawing/2014/main" xmlns="" id="{325D2DB2-7135-42AF-AA55-29C7AB9424F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76791" y="3928365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72" name="Rechteck 20">
            <a:extLst>
              <a:ext uri="{FF2B5EF4-FFF2-40B4-BE49-F238E27FC236}">
                <a16:creationId xmlns:a16="http://schemas.microsoft.com/office/drawing/2014/main" xmlns="" id="{0112633A-6572-4894-8CD8-56276D841C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92739" y="3928365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73" name="Rechteck 22">
            <a:extLst>
              <a:ext uri="{FF2B5EF4-FFF2-40B4-BE49-F238E27FC236}">
                <a16:creationId xmlns:a16="http://schemas.microsoft.com/office/drawing/2014/main" xmlns="" id="{68686E69-B36D-4B5A-8772-CF84FBF4A1A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0426" y="3928365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74" name="Rechteck 23">
            <a:extLst>
              <a:ext uri="{FF2B5EF4-FFF2-40B4-BE49-F238E27FC236}">
                <a16:creationId xmlns:a16="http://schemas.microsoft.com/office/drawing/2014/main" xmlns="" id="{72CB147D-D081-4F48-9F8C-8F597190B7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3928365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75" name="Rechteck 24">
            <a:extLst>
              <a:ext uri="{FF2B5EF4-FFF2-40B4-BE49-F238E27FC236}">
                <a16:creationId xmlns:a16="http://schemas.microsoft.com/office/drawing/2014/main" xmlns="" id="{9B814D33-A57C-44A5-B40A-74AE24D976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3928365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76" name="Rechteck 25">
            <a:extLst>
              <a:ext uri="{FF2B5EF4-FFF2-40B4-BE49-F238E27FC236}">
                <a16:creationId xmlns:a16="http://schemas.microsoft.com/office/drawing/2014/main" xmlns="" id="{2C43C966-D4F3-4186-BC73-134DEA5302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3928365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77" name="Rechteck 26">
            <a:extLst>
              <a:ext uri="{FF2B5EF4-FFF2-40B4-BE49-F238E27FC236}">
                <a16:creationId xmlns:a16="http://schemas.microsoft.com/office/drawing/2014/main" xmlns="" id="{0E250986-F2BE-41A2-ACEB-D9C588AA6E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420199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78" name="Rechteck 1">
            <a:extLst>
              <a:ext uri="{FF2B5EF4-FFF2-40B4-BE49-F238E27FC236}">
                <a16:creationId xmlns:a16="http://schemas.microsoft.com/office/drawing/2014/main" xmlns="" id="{9B217AAF-7CBA-492B-BD0E-D084BB0A70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76791" y="4201992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79" name="Rechteck 20">
            <a:extLst>
              <a:ext uri="{FF2B5EF4-FFF2-40B4-BE49-F238E27FC236}">
                <a16:creationId xmlns:a16="http://schemas.microsoft.com/office/drawing/2014/main" xmlns="" id="{358C2D01-51DA-49A9-9B24-7631A53FEAA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92739" y="4201992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80" name="Rechteck 22">
            <a:extLst>
              <a:ext uri="{FF2B5EF4-FFF2-40B4-BE49-F238E27FC236}">
                <a16:creationId xmlns:a16="http://schemas.microsoft.com/office/drawing/2014/main" xmlns="" id="{F62D15D1-194D-42C8-B4C9-FEDDE2716B8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0426" y="4201992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81" name="Rechteck 23">
            <a:extLst>
              <a:ext uri="{FF2B5EF4-FFF2-40B4-BE49-F238E27FC236}">
                <a16:creationId xmlns:a16="http://schemas.microsoft.com/office/drawing/2014/main" xmlns="" id="{864D0FC6-E444-439E-B838-756E5F6797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420199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82" name="Rechteck 24">
            <a:extLst>
              <a:ext uri="{FF2B5EF4-FFF2-40B4-BE49-F238E27FC236}">
                <a16:creationId xmlns:a16="http://schemas.microsoft.com/office/drawing/2014/main" xmlns="" id="{19B12FB7-05A2-4E4F-9FD6-5ED3C50CE5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420199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83" name="Rechteck 25">
            <a:extLst>
              <a:ext uri="{FF2B5EF4-FFF2-40B4-BE49-F238E27FC236}">
                <a16:creationId xmlns:a16="http://schemas.microsoft.com/office/drawing/2014/main" xmlns="" id="{2329A7EA-01C4-4A26-B7EF-DBE9EB84D5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420199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84" name="Rechteck 26">
            <a:extLst>
              <a:ext uri="{FF2B5EF4-FFF2-40B4-BE49-F238E27FC236}">
                <a16:creationId xmlns:a16="http://schemas.microsoft.com/office/drawing/2014/main" xmlns="" id="{F3F8D154-A96B-4B37-84B7-4A4290AA79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4475621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85" name="Rechteck 23">
            <a:extLst>
              <a:ext uri="{FF2B5EF4-FFF2-40B4-BE49-F238E27FC236}">
                <a16:creationId xmlns:a16="http://schemas.microsoft.com/office/drawing/2014/main" xmlns="" id="{3D61101F-F377-4FEC-BCE5-963C7715626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4475621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86" name="Rechteck 24">
            <a:extLst>
              <a:ext uri="{FF2B5EF4-FFF2-40B4-BE49-F238E27FC236}">
                <a16:creationId xmlns:a16="http://schemas.microsoft.com/office/drawing/2014/main" xmlns="" id="{23EE4FF8-C001-4970-B4F7-7D1E04CB66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4475621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87" name="Rechteck 25">
            <a:extLst>
              <a:ext uri="{FF2B5EF4-FFF2-40B4-BE49-F238E27FC236}">
                <a16:creationId xmlns:a16="http://schemas.microsoft.com/office/drawing/2014/main" xmlns="" id="{EE5E97FA-27C9-41F9-93D4-A9A5A9A87A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4475621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88" name="Rechteck 26">
            <a:extLst>
              <a:ext uri="{FF2B5EF4-FFF2-40B4-BE49-F238E27FC236}">
                <a16:creationId xmlns:a16="http://schemas.microsoft.com/office/drawing/2014/main" xmlns="" id="{CFC78637-861F-4993-9938-2BB225147B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4748077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89" name="Rechteck 23">
            <a:extLst>
              <a:ext uri="{FF2B5EF4-FFF2-40B4-BE49-F238E27FC236}">
                <a16:creationId xmlns:a16="http://schemas.microsoft.com/office/drawing/2014/main" xmlns="" id="{91A9DE25-EBE6-49C0-9184-2041E9E926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4748077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90" name="Rechteck 24">
            <a:extLst>
              <a:ext uri="{FF2B5EF4-FFF2-40B4-BE49-F238E27FC236}">
                <a16:creationId xmlns:a16="http://schemas.microsoft.com/office/drawing/2014/main" xmlns="" id="{311587A3-78E3-4FC8-8D82-BFA78B36AC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4748077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91" name="Rechteck 25">
            <a:extLst>
              <a:ext uri="{FF2B5EF4-FFF2-40B4-BE49-F238E27FC236}">
                <a16:creationId xmlns:a16="http://schemas.microsoft.com/office/drawing/2014/main" xmlns="" id="{CAB89A77-11FB-4A54-AC17-EBB260A3A7D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4748077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92" name="Rechteck 26">
            <a:extLst>
              <a:ext uri="{FF2B5EF4-FFF2-40B4-BE49-F238E27FC236}">
                <a16:creationId xmlns:a16="http://schemas.microsoft.com/office/drawing/2014/main" xmlns="" id="{BAAEF66B-86DD-4B00-8A45-002A2A56C67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5020536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893" name="Rechteck 1">
            <a:extLst>
              <a:ext uri="{FF2B5EF4-FFF2-40B4-BE49-F238E27FC236}">
                <a16:creationId xmlns:a16="http://schemas.microsoft.com/office/drawing/2014/main" xmlns="" id="{3D69C16D-5B65-4315-885A-9CF7D46B72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76791" y="5020536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94" name="Rechteck 20">
            <a:extLst>
              <a:ext uri="{FF2B5EF4-FFF2-40B4-BE49-F238E27FC236}">
                <a16:creationId xmlns:a16="http://schemas.microsoft.com/office/drawing/2014/main" xmlns="" id="{575BE431-26E4-45FC-BC9C-7C53B9EA26E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92739" y="5020536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95" name="Rechteck 22">
            <a:extLst>
              <a:ext uri="{FF2B5EF4-FFF2-40B4-BE49-F238E27FC236}">
                <a16:creationId xmlns:a16="http://schemas.microsoft.com/office/drawing/2014/main" xmlns="" id="{D033530B-967E-4EAB-AEF6-4F62F93C26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0426" y="5020536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96" name="Rechteck 23">
            <a:extLst>
              <a:ext uri="{FF2B5EF4-FFF2-40B4-BE49-F238E27FC236}">
                <a16:creationId xmlns:a16="http://schemas.microsoft.com/office/drawing/2014/main" xmlns="" id="{39D5C42A-895D-4E90-A4FD-812C057BBE8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5020536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97" name="Rechteck 24">
            <a:extLst>
              <a:ext uri="{FF2B5EF4-FFF2-40B4-BE49-F238E27FC236}">
                <a16:creationId xmlns:a16="http://schemas.microsoft.com/office/drawing/2014/main" xmlns="" id="{C831A114-9E1E-4736-880D-D6E561D2935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5020536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98" name="Rechteck 25">
            <a:extLst>
              <a:ext uri="{FF2B5EF4-FFF2-40B4-BE49-F238E27FC236}">
                <a16:creationId xmlns:a16="http://schemas.microsoft.com/office/drawing/2014/main" xmlns="" id="{DC36F218-4C41-47B3-8CC9-B8FEA9419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5020536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899" name="Rechteck 26">
            <a:extLst>
              <a:ext uri="{FF2B5EF4-FFF2-40B4-BE49-F238E27FC236}">
                <a16:creationId xmlns:a16="http://schemas.microsoft.com/office/drawing/2014/main" xmlns="" id="{8F2EF959-0B1B-44F7-995C-8692369648B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529416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00" name="Rechteck 1">
            <a:extLst>
              <a:ext uri="{FF2B5EF4-FFF2-40B4-BE49-F238E27FC236}">
                <a16:creationId xmlns:a16="http://schemas.microsoft.com/office/drawing/2014/main" xmlns="" id="{9366C047-CF5C-44A2-896E-A449F19E04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76791" y="5294162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01" name="Rechteck 20">
            <a:extLst>
              <a:ext uri="{FF2B5EF4-FFF2-40B4-BE49-F238E27FC236}">
                <a16:creationId xmlns:a16="http://schemas.microsoft.com/office/drawing/2014/main" xmlns="" id="{68775359-1D7E-4CD0-93CB-51FFE4F3F1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92739" y="5294162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02" name="Rechteck 22">
            <a:extLst>
              <a:ext uri="{FF2B5EF4-FFF2-40B4-BE49-F238E27FC236}">
                <a16:creationId xmlns:a16="http://schemas.microsoft.com/office/drawing/2014/main" xmlns="" id="{6C69275C-3052-4EBC-A8E8-CB587E4CB5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0426" y="5294162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03" name="Rechteck 23">
            <a:extLst>
              <a:ext uri="{FF2B5EF4-FFF2-40B4-BE49-F238E27FC236}">
                <a16:creationId xmlns:a16="http://schemas.microsoft.com/office/drawing/2014/main" xmlns="" id="{948486F4-B382-4661-9B0C-320D7B032C3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529416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04" name="Rechteck 24">
            <a:extLst>
              <a:ext uri="{FF2B5EF4-FFF2-40B4-BE49-F238E27FC236}">
                <a16:creationId xmlns:a16="http://schemas.microsoft.com/office/drawing/2014/main" xmlns="" id="{E1716CAC-BC69-4DE8-9AFA-A757C15CC6C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529416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05" name="Rechteck 25">
            <a:extLst>
              <a:ext uri="{FF2B5EF4-FFF2-40B4-BE49-F238E27FC236}">
                <a16:creationId xmlns:a16="http://schemas.microsoft.com/office/drawing/2014/main" xmlns="" id="{B37D1171-6FD3-4F2A-B0CE-AF514B0B414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529416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06" name="Rechteck 1">
            <a:extLst>
              <a:ext uri="{FF2B5EF4-FFF2-40B4-BE49-F238E27FC236}">
                <a16:creationId xmlns:a16="http://schemas.microsoft.com/office/drawing/2014/main" xmlns="" id="{C10274DA-13F1-40F5-9E2D-6F36D20850D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76791" y="5567791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07" name="Rechteck 20">
            <a:extLst>
              <a:ext uri="{FF2B5EF4-FFF2-40B4-BE49-F238E27FC236}">
                <a16:creationId xmlns:a16="http://schemas.microsoft.com/office/drawing/2014/main" xmlns="" id="{09A67F7D-A05A-4C09-A031-A88EDC509D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92739" y="5567791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08" name="Rechteck 22">
            <a:extLst>
              <a:ext uri="{FF2B5EF4-FFF2-40B4-BE49-F238E27FC236}">
                <a16:creationId xmlns:a16="http://schemas.microsoft.com/office/drawing/2014/main" xmlns="" id="{80D4685C-F0C7-4A94-A18B-2AA06CD38A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0426" y="5567791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09" name="Rechteck 26">
            <a:extLst>
              <a:ext uri="{FF2B5EF4-FFF2-40B4-BE49-F238E27FC236}">
                <a16:creationId xmlns:a16="http://schemas.microsoft.com/office/drawing/2014/main" xmlns="" id="{28243A60-85AF-45FA-899D-08413C175D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79427" y="5567791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10" name="Rechteck 23">
            <a:extLst>
              <a:ext uri="{FF2B5EF4-FFF2-40B4-BE49-F238E27FC236}">
                <a16:creationId xmlns:a16="http://schemas.microsoft.com/office/drawing/2014/main" xmlns="" id="{1A7D77BA-BD10-4064-9478-D471A1C7A60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8111" y="5567791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11" name="Rechteck 24">
            <a:extLst>
              <a:ext uri="{FF2B5EF4-FFF2-40B4-BE49-F238E27FC236}">
                <a16:creationId xmlns:a16="http://schemas.microsoft.com/office/drawing/2014/main" xmlns="" id="{C9CFD4CC-50A1-401F-8E3E-50C8ED67A7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44059" y="5567791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12" name="Rechteck 25">
            <a:extLst>
              <a:ext uri="{FF2B5EF4-FFF2-40B4-BE49-F238E27FC236}">
                <a16:creationId xmlns:a16="http://schemas.microsoft.com/office/drawing/2014/main" xmlns="" id="{69B98076-5467-47A3-A570-59D3B1B79A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1745" y="5567791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14" name="Rechteck 26">
            <a:extLst>
              <a:ext uri="{FF2B5EF4-FFF2-40B4-BE49-F238E27FC236}">
                <a16:creationId xmlns:a16="http://schemas.microsoft.com/office/drawing/2014/main" xmlns="" id="{E50E268F-998B-4296-90C8-794158C95AF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5841423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15" name="Rechteck 25">
            <a:extLst>
              <a:ext uri="{FF2B5EF4-FFF2-40B4-BE49-F238E27FC236}">
                <a16:creationId xmlns:a16="http://schemas.microsoft.com/office/drawing/2014/main" xmlns="" id="{94395CEF-7B23-4AD4-97A1-068C0E8ADA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5841423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16" name="Rechteck 26">
            <a:extLst>
              <a:ext uri="{FF2B5EF4-FFF2-40B4-BE49-F238E27FC236}">
                <a16:creationId xmlns:a16="http://schemas.microsoft.com/office/drawing/2014/main" xmlns="" id="{3DB51772-5B80-4E5A-A3F7-3AF58F0204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2021585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17" name="Rechteck 23">
            <a:extLst>
              <a:ext uri="{FF2B5EF4-FFF2-40B4-BE49-F238E27FC236}">
                <a16:creationId xmlns:a16="http://schemas.microsoft.com/office/drawing/2014/main" xmlns="" id="{B68F1D7A-903C-4368-BA54-CA4332A56B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64000" y="2021585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18" name="Rechteck 24">
            <a:extLst>
              <a:ext uri="{FF2B5EF4-FFF2-40B4-BE49-F238E27FC236}">
                <a16:creationId xmlns:a16="http://schemas.microsoft.com/office/drawing/2014/main" xmlns="" id="{47B56C16-2F50-4208-B633-9E49870ED1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9948" y="2021585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19" name="Rechteck 25">
            <a:extLst>
              <a:ext uri="{FF2B5EF4-FFF2-40B4-BE49-F238E27FC236}">
                <a16:creationId xmlns:a16="http://schemas.microsoft.com/office/drawing/2014/main" xmlns="" id="{BB5D68A8-6FFD-47BF-BF3B-5E221A5EA1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2021585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20" name="Rechteck 26">
            <a:extLst>
              <a:ext uri="{FF2B5EF4-FFF2-40B4-BE49-F238E27FC236}">
                <a16:creationId xmlns:a16="http://schemas.microsoft.com/office/drawing/2014/main" xmlns="" id="{F189E694-51A1-4574-BC4D-7F8405D4D6F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2295213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21" name="Rechteck 23">
            <a:extLst>
              <a:ext uri="{FF2B5EF4-FFF2-40B4-BE49-F238E27FC236}">
                <a16:creationId xmlns:a16="http://schemas.microsoft.com/office/drawing/2014/main" xmlns="" id="{D15C896F-1A5C-4425-94EB-1235CD1D48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64000" y="2295213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22" name="Rechteck 24">
            <a:extLst>
              <a:ext uri="{FF2B5EF4-FFF2-40B4-BE49-F238E27FC236}">
                <a16:creationId xmlns:a16="http://schemas.microsoft.com/office/drawing/2014/main" xmlns="" id="{48ABDD4A-6767-47EB-B6D6-D6DC73F816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9948" y="2295213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23" name="Rechteck 25">
            <a:extLst>
              <a:ext uri="{FF2B5EF4-FFF2-40B4-BE49-F238E27FC236}">
                <a16:creationId xmlns:a16="http://schemas.microsoft.com/office/drawing/2014/main" xmlns="" id="{67E05B7E-BDEF-4A92-90B4-3F65B10B83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2295213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24" name="Rechteck 26">
            <a:extLst>
              <a:ext uri="{FF2B5EF4-FFF2-40B4-BE49-F238E27FC236}">
                <a16:creationId xmlns:a16="http://schemas.microsoft.com/office/drawing/2014/main" xmlns="" id="{CFFE3A45-3692-4C69-9B23-D1BDC59E48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256884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25" name="Rechteck 23">
            <a:extLst>
              <a:ext uri="{FF2B5EF4-FFF2-40B4-BE49-F238E27FC236}">
                <a16:creationId xmlns:a16="http://schemas.microsoft.com/office/drawing/2014/main" xmlns="" id="{0E948D3B-E55E-4719-BEAB-04DE2A9D8BB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64000" y="256884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26" name="Rechteck 24">
            <a:extLst>
              <a:ext uri="{FF2B5EF4-FFF2-40B4-BE49-F238E27FC236}">
                <a16:creationId xmlns:a16="http://schemas.microsoft.com/office/drawing/2014/main" xmlns="" id="{F5C5E521-D45C-4942-A62C-A07DDBB5A33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9948" y="256884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27" name="Rechteck 25">
            <a:extLst>
              <a:ext uri="{FF2B5EF4-FFF2-40B4-BE49-F238E27FC236}">
                <a16:creationId xmlns:a16="http://schemas.microsoft.com/office/drawing/2014/main" xmlns="" id="{041DE2F2-DDA8-4F51-91E2-9448386839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256884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28" name="Rechteck 26">
            <a:extLst>
              <a:ext uri="{FF2B5EF4-FFF2-40B4-BE49-F238E27FC236}">
                <a16:creationId xmlns:a16="http://schemas.microsoft.com/office/drawing/2014/main" xmlns="" id="{40E7B0B4-BAEE-4CF9-AEA1-44CCFD1E9C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2842470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29" name="Rechteck 25">
            <a:extLst>
              <a:ext uri="{FF2B5EF4-FFF2-40B4-BE49-F238E27FC236}">
                <a16:creationId xmlns:a16="http://schemas.microsoft.com/office/drawing/2014/main" xmlns="" id="{16824B89-45B2-4405-9D36-B54F1AE665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2842470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30" name="Rechteck 26">
            <a:extLst>
              <a:ext uri="{FF2B5EF4-FFF2-40B4-BE49-F238E27FC236}">
                <a16:creationId xmlns:a16="http://schemas.microsoft.com/office/drawing/2014/main" xmlns="" id="{F51FD6C1-6386-47CF-94E4-081A71AC2D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3116100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31" name="Rechteck 25">
            <a:extLst>
              <a:ext uri="{FF2B5EF4-FFF2-40B4-BE49-F238E27FC236}">
                <a16:creationId xmlns:a16="http://schemas.microsoft.com/office/drawing/2014/main" xmlns="" id="{B7B7FAD9-0D4B-44F5-B131-81C6F3F34E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3116100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32" name="Rechteck 26">
            <a:extLst>
              <a:ext uri="{FF2B5EF4-FFF2-40B4-BE49-F238E27FC236}">
                <a16:creationId xmlns:a16="http://schemas.microsoft.com/office/drawing/2014/main" xmlns="" id="{D1B433E9-3D21-4A9F-A54F-9A35311D0B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3389728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33" name="Rechteck 25">
            <a:extLst>
              <a:ext uri="{FF2B5EF4-FFF2-40B4-BE49-F238E27FC236}">
                <a16:creationId xmlns:a16="http://schemas.microsoft.com/office/drawing/2014/main" xmlns="" id="{33465385-9D28-40B5-B51D-848965460B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3389728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34" name="Rechteck 26">
            <a:extLst>
              <a:ext uri="{FF2B5EF4-FFF2-40B4-BE49-F238E27FC236}">
                <a16:creationId xmlns:a16="http://schemas.microsoft.com/office/drawing/2014/main" xmlns="" id="{8EBD9513-4E73-4963-AD1B-019F261BD38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3654737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35" name="Rechteck 25">
            <a:extLst>
              <a:ext uri="{FF2B5EF4-FFF2-40B4-BE49-F238E27FC236}">
                <a16:creationId xmlns:a16="http://schemas.microsoft.com/office/drawing/2014/main" xmlns="" id="{035EF0CB-065D-4A67-A812-B68111618D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3654737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36" name="Rechteck 26">
            <a:extLst>
              <a:ext uri="{FF2B5EF4-FFF2-40B4-BE49-F238E27FC236}">
                <a16:creationId xmlns:a16="http://schemas.microsoft.com/office/drawing/2014/main" xmlns="" id="{6A3CCFA5-5CA1-4849-A4B3-A12FA07E0AC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3928365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37" name="Rechteck 25">
            <a:extLst>
              <a:ext uri="{FF2B5EF4-FFF2-40B4-BE49-F238E27FC236}">
                <a16:creationId xmlns:a16="http://schemas.microsoft.com/office/drawing/2014/main" xmlns="" id="{321280FF-D6FD-47DD-A724-A83E83793D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3928365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38" name="Rechteck 26">
            <a:extLst>
              <a:ext uri="{FF2B5EF4-FFF2-40B4-BE49-F238E27FC236}">
                <a16:creationId xmlns:a16="http://schemas.microsoft.com/office/drawing/2014/main" xmlns="" id="{CBC92335-833F-47A0-9C6B-5B03641E02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420199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39" name="Rechteck 25">
            <a:extLst>
              <a:ext uri="{FF2B5EF4-FFF2-40B4-BE49-F238E27FC236}">
                <a16:creationId xmlns:a16="http://schemas.microsoft.com/office/drawing/2014/main" xmlns="" id="{6D9D64EE-44EB-49CC-ABDE-76D64C77B74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420199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40" name="Rechteck 26">
            <a:extLst>
              <a:ext uri="{FF2B5EF4-FFF2-40B4-BE49-F238E27FC236}">
                <a16:creationId xmlns:a16="http://schemas.microsoft.com/office/drawing/2014/main" xmlns="" id="{E1D337D8-A3B9-4F10-BE5B-3B711360ECD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4475621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41" name="Rechteck 25">
            <a:extLst>
              <a:ext uri="{FF2B5EF4-FFF2-40B4-BE49-F238E27FC236}">
                <a16:creationId xmlns:a16="http://schemas.microsoft.com/office/drawing/2014/main" xmlns="" id="{EADE6169-5319-4DFC-9973-B01350AA24D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4475621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42" name="Rechteck 26">
            <a:extLst>
              <a:ext uri="{FF2B5EF4-FFF2-40B4-BE49-F238E27FC236}">
                <a16:creationId xmlns:a16="http://schemas.microsoft.com/office/drawing/2014/main" xmlns="" id="{58D159DD-9FE2-49E7-B6EA-3172CCB243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4748077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43" name="Rechteck 25">
            <a:extLst>
              <a:ext uri="{FF2B5EF4-FFF2-40B4-BE49-F238E27FC236}">
                <a16:creationId xmlns:a16="http://schemas.microsoft.com/office/drawing/2014/main" xmlns="" id="{5A5CB38F-0630-4360-9BA7-9536AD95B28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4748077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44" name="Rechteck 26">
            <a:extLst>
              <a:ext uri="{FF2B5EF4-FFF2-40B4-BE49-F238E27FC236}">
                <a16:creationId xmlns:a16="http://schemas.microsoft.com/office/drawing/2014/main" xmlns="" id="{BD31AD65-936D-4386-85FE-97F6A6C43B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5020536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45" name="Rechteck 25">
            <a:extLst>
              <a:ext uri="{FF2B5EF4-FFF2-40B4-BE49-F238E27FC236}">
                <a16:creationId xmlns:a16="http://schemas.microsoft.com/office/drawing/2014/main" xmlns="" id="{8B9D1A65-8D50-43EA-A9C8-A997E3FCDA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5020536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46" name="Rechteck 26">
            <a:extLst>
              <a:ext uri="{FF2B5EF4-FFF2-40B4-BE49-F238E27FC236}">
                <a16:creationId xmlns:a16="http://schemas.microsoft.com/office/drawing/2014/main" xmlns="" id="{4A746681-2638-45EA-A7B3-0FCBBA0737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529416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47" name="Rechteck 25">
            <a:extLst>
              <a:ext uri="{FF2B5EF4-FFF2-40B4-BE49-F238E27FC236}">
                <a16:creationId xmlns:a16="http://schemas.microsoft.com/office/drawing/2014/main" xmlns="" id="{9B8620C6-A8FC-484E-9B7E-3B484E81188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529416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48" name="Rechteck 26">
            <a:extLst>
              <a:ext uri="{FF2B5EF4-FFF2-40B4-BE49-F238E27FC236}">
                <a16:creationId xmlns:a16="http://schemas.microsoft.com/office/drawing/2014/main" xmlns="" id="{CCB22F32-D899-4580-A859-8526625FFF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5316" y="5567791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49" name="Rechteck 25">
            <a:extLst>
              <a:ext uri="{FF2B5EF4-FFF2-40B4-BE49-F238E27FC236}">
                <a16:creationId xmlns:a16="http://schemas.microsoft.com/office/drawing/2014/main" xmlns="" id="{FFD0E451-3333-4672-B79E-585A247DB5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97633" y="5567791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51" name="Rechteck 26">
            <a:extLst>
              <a:ext uri="{FF2B5EF4-FFF2-40B4-BE49-F238E27FC236}">
                <a16:creationId xmlns:a16="http://schemas.microsoft.com/office/drawing/2014/main" xmlns="" id="{700E1061-1051-444B-BB5C-C57E8B6CCB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5841423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52" name="Rechteck 23">
            <a:extLst>
              <a:ext uri="{FF2B5EF4-FFF2-40B4-BE49-F238E27FC236}">
                <a16:creationId xmlns:a16="http://schemas.microsoft.com/office/drawing/2014/main" xmlns="" id="{06418491-6D34-4791-A7C9-11C2F5CDFD1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5841423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53" name="Rechteck 24">
            <a:extLst>
              <a:ext uri="{FF2B5EF4-FFF2-40B4-BE49-F238E27FC236}">
                <a16:creationId xmlns:a16="http://schemas.microsoft.com/office/drawing/2014/main" xmlns="" id="{1EB5B6DF-33E9-4AA1-8F62-CF5A0403F8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5841423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54" name="Rechteck 25">
            <a:extLst>
              <a:ext uri="{FF2B5EF4-FFF2-40B4-BE49-F238E27FC236}">
                <a16:creationId xmlns:a16="http://schemas.microsoft.com/office/drawing/2014/main" xmlns="" id="{EE5AD703-50DC-4E20-ACE9-7919D03243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5841423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55" name="Rechteck 26">
            <a:extLst>
              <a:ext uri="{FF2B5EF4-FFF2-40B4-BE49-F238E27FC236}">
                <a16:creationId xmlns:a16="http://schemas.microsoft.com/office/drawing/2014/main" xmlns="" id="{E9A07177-619C-4E89-B389-6280E5D02D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2021585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56" name="Rechteck 23">
            <a:extLst>
              <a:ext uri="{FF2B5EF4-FFF2-40B4-BE49-F238E27FC236}">
                <a16:creationId xmlns:a16="http://schemas.microsoft.com/office/drawing/2014/main" xmlns="" id="{E8B17220-81C2-4AEE-B9A8-2A4032BF244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2021585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57" name="Rechteck 24">
            <a:extLst>
              <a:ext uri="{FF2B5EF4-FFF2-40B4-BE49-F238E27FC236}">
                <a16:creationId xmlns:a16="http://schemas.microsoft.com/office/drawing/2014/main" xmlns="" id="{23C5DD2B-AEE2-4FD9-B59A-F7C8738661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2021585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58" name="Rechteck 25">
            <a:extLst>
              <a:ext uri="{FF2B5EF4-FFF2-40B4-BE49-F238E27FC236}">
                <a16:creationId xmlns:a16="http://schemas.microsoft.com/office/drawing/2014/main" xmlns="" id="{7F1FEF22-435B-4F95-8EA4-0FC5BBDDA4D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2021585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59" name="Rechteck 26">
            <a:extLst>
              <a:ext uri="{FF2B5EF4-FFF2-40B4-BE49-F238E27FC236}">
                <a16:creationId xmlns:a16="http://schemas.microsoft.com/office/drawing/2014/main" xmlns="" id="{9886B890-7457-4301-815F-540BE257697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2295213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60" name="Rechteck 23">
            <a:extLst>
              <a:ext uri="{FF2B5EF4-FFF2-40B4-BE49-F238E27FC236}">
                <a16:creationId xmlns:a16="http://schemas.microsoft.com/office/drawing/2014/main" xmlns="" id="{71EAD602-1123-4F89-BE85-21AF257522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2295213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61" name="Rechteck 24">
            <a:extLst>
              <a:ext uri="{FF2B5EF4-FFF2-40B4-BE49-F238E27FC236}">
                <a16:creationId xmlns:a16="http://schemas.microsoft.com/office/drawing/2014/main" xmlns="" id="{E0AB7283-DB71-43E4-BF77-E67F61B1A5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2295213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62" name="Rechteck 25">
            <a:extLst>
              <a:ext uri="{FF2B5EF4-FFF2-40B4-BE49-F238E27FC236}">
                <a16:creationId xmlns:a16="http://schemas.microsoft.com/office/drawing/2014/main" xmlns="" id="{17317024-2596-4F6F-BE25-D2F5978816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2295213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63" name="Rechteck 26">
            <a:extLst>
              <a:ext uri="{FF2B5EF4-FFF2-40B4-BE49-F238E27FC236}">
                <a16:creationId xmlns:a16="http://schemas.microsoft.com/office/drawing/2014/main" xmlns="" id="{7CE9B312-BCCC-44FB-BED9-E0BE645325C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256884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64" name="Rechteck 23">
            <a:extLst>
              <a:ext uri="{FF2B5EF4-FFF2-40B4-BE49-F238E27FC236}">
                <a16:creationId xmlns:a16="http://schemas.microsoft.com/office/drawing/2014/main" xmlns="" id="{E0A708FB-7C62-418A-9381-8C8525C749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256884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65" name="Rechteck 24">
            <a:extLst>
              <a:ext uri="{FF2B5EF4-FFF2-40B4-BE49-F238E27FC236}">
                <a16:creationId xmlns:a16="http://schemas.microsoft.com/office/drawing/2014/main" xmlns="" id="{4DFD2933-7E78-4A5E-870E-ABD6DEA348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256884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66" name="Rechteck 25">
            <a:extLst>
              <a:ext uri="{FF2B5EF4-FFF2-40B4-BE49-F238E27FC236}">
                <a16:creationId xmlns:a16="http://schemas.microsoft.com/office/drawing/2014/main" xmlns="" id="{8A318C2E-8E92-4446-B7B5-C4F25E2B99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256884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67" name="Rechteck 26">
            <a:extLst>
              <a:ext uri="{FF2B5EF4-FFF2-40B4-BE49-F238E27FC236}">
                <a16:creationId xmlns:a16="http://schemas.microsoft.com/office/drawing/2014/main" xmlns="" id="{18812947-94D1-4F5D-8E71-F13BE4575D4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2842470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68" name="Rechteck 25">
            <a:extLst>
              <a:ext uri="{FF2B5EF4-FFF2-40B4-BE49-F238E27FC236}">
                <a16:creationId xmlns:a16="http://schemas.microsoft.com/office/drawing/2014/main" xmlns="" id="{B72FA9FC-1699-430C-9014-EE3384D297C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2842470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69" name="Rechteck 26">
            <a:extLst>
              <a:ext uri="{FF2B5EF4-FFF2-40B4-BE49-F238E27FC236}">
                <a16:creationId xmlns:a16="http://schemas.microsoft.com/office/drawing/2014/main" xmlns="" id="{0012E94F-1B91-480C-8593-E5DC4E2768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3116100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70" name="Rechteck 25">
            <a:extLst>
              <a:ext uri="{FF2B5EF4-FFF2-40B4-BE49-F238E27FC236}">
                <a16:creationId xmlns:a16="http://schemas.microsoft.com/office/drawing/2014/main" xmlns="" id="{2A5BA004-4D0B-430A-AE5E-955E10AA28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3116100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71" name="Rechteck 26">
            <a:extLst>
              <a:ext uri="{FF2B5EF4-FFF2-40B4-BE49-F238E27FC236}">
                <a16:creationId xmlns:a16="http://schemas.microsoft.com/office/drawing/2014/main" xmlns="" id="{87DC141D-9C5E-4C5B-AD0A-AB39DACBC6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3389728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72" name="Rechteck 23">
            <a:extLst>
              <a:ext uri="{FF2B5EF4-FFF2-40B4-BE49-F238E27FC236}">
                <a16:creationId xmlns:a16="http://schemas.microsoft.com/office/drawing/2014/main" xmlns="" id="{EDDB05F1-48B9-4187-A227-949B369905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3389728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73" name="Rechteck 24">
            <a:extLst>
              <a:ext uri="{FF2B5EF4-FFF2-40B4-BE49-F238E27FC236}">
                <a16:creationId xmlns:a16="http://schemas.microsoft.com/office/drawing/2014/main" xmlns="" id="{D7C9F8E4-2188-4713-BCA9-1BD3DD8CE6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3389728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74" name="Rechteck 25">
            <a:extLst>
              <a:ext uri="{FF2B5EF4-FFF2-40B4-BE49-F238E27FC236}">
                <a16:creationId xmlns:a16="http://schemas.microsoft.com/office/drawing/2014/main" xmlns="" id="{724D89F7-ACAE-4F21-AED4-B345D170282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3389728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75" name="Rechteck 26">
            <a:extLst>
              <a:ext uri="{FF2B5EF4-FFF2-40B4-BE49-F238E27FC236}">
                <a16:creationId xmlns:a16="http://schemas.microsoft.com/office/drawing/2014/main" xmlns="" id="{E73097E1-EC91-43B6-97E4-1532D46A68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3654737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76" name="Rechteck 23">
            <a:extLst>
              <a:ext uri="{FF2B5EF4-FFF2-40B4-BE49-F238E27FC236}">
                <a16:creationId xmlns:a16="http://schemas.microsoft.com/office/drawing/2014/main" xmlns="" id="{231AB483-7F1F-4B80-9CD8-6A8DA8EE49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3654737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77" name="Rechteck 24">
            <a:extLst>
              <a:ext uri="{FF2B5EF4-FFF2-40B4-BE49-F238E27FC236}">
                <a16:creationId xmlns:a16="http://schemas.microsoft.com/office/drawing/2014/main" xmlns="" id="{133F1C3F-CB12-430E-8138-CFD427BFF4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3654737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78" name="Rechteck 25">
            <a:extLst>
              <a:ext uri="{FF2B5EF4-FFF2-40B4-BE49-F238E27FC236}">
                <a16:creationId xmlns:a16="http://schemas.microsoft.com/office/drawing/2014/main" xmlns="" id="{43035AED-3B35-441B-902A-D9B8AC3523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3654737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79" name="Rechteck 26">
            <a:extLst>
              <a:ext uri="{FF2B5EF4-FFF2-40B4-BE49-F238E27FC236}">
                <a16:creationId xmlns:a16="http://schemas.microsoft.com/office/drawing/2014/main" xmlns="" id="{D38AFB9D-5A81-40E1-9A1A-535E22B59A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3928365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80" name="Rechteck 23">
            <a:extLst>
              <a:ext uri="{FF2B5EF4-FFF2-40B4-BE49-F238E27FC236}">
                <a16:creationId xmlns:a16="http://schemas.microsoft.com/office/drawing/2014/main" xmlns="" id="{C180296D-8BB8-40BD-9874-1AF88DBD4D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3928365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81" name="Rechteck 24">
            <a:extLst>
              <a:ext uri="{FF2B5EF4-FFF2-40B4-BE49-F238E27FC236}">
                <a16:creationId xmlns:a16="http://schemas.microsoft.com/office/drawing/2014/main" xmlns="" id="{C330FFBB-4B27-4E6B-90E8-43DF2F21E57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3928365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82" name="Rechteck 25">
            <a:extLst>
              <a:ext uri="{FF2B5EF4-FFF2-40B4-BE49-F238E27FC236}">
                <a16:creationId xmlns:a16="http://schemas.microsoft.com/office/drawing/2014/main" xmlns="" id="{E42004B7-AA3E-4B66-8C4C-C5E98AB724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3928365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83" name="Rechteck 26">
            <a:extLst>
              <a:ext uri="{FF2B5EF4-FFF2-40B4-BE49-F238E27FC236}">
                <a16:creationId xmlns:a16="http://schemas.microsoft.com/office/drawing/2014/main" xmlns="" id="{37D35EAD-5193-4B4E-90A2-CFD48927E5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420199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84" name="Rechteck 23">
            <a:extLst>
              <a:ext uri="{FF2B5EF4-FFF2-40B4-BE49-F238E27FC236}">
                <a16:creationId xmlns:a16="http://schemas.microsoft.com/office/drawing/2014/main" xmlns="" id="{6BA4333C-5E9D-4AE4-9FB3-9E8381FA23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420199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85" name="Rechteck 24">
            <a:extLst>
              <a:ext uri="{FF2B5EF4-FFF2-40B4-BE49-F238E27FC236}">
                <a16:creationId xmlns:a16="http://schemas.microsoft.com/office/drawing/2014/main" xmlns="" id="{9F81E04A-A345-47E9-A9A4-91BB840453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420199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86" name="Rechteck 25">
            <a:extLst>
              <a:ext uri="{FF2B5EF4-FFF2-40B4-BE49-F238E27FC236}">
                <a16:creationId xmlns:a16="http://schemas.microsoft.com/office/drawing/2014/main" xmlns="" id="{ABA0B9BA-5FAC-4E89-8353-E4E76C05EF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420199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87" name="Rechteck 26">
            <a:extLst>
              <a:ext uri="{FF2B5EF4-FFF2-40B4-BE49-F238E27FC236}">
                <a16:creationId xmlns:a16="http://schemas.microsoft.com/office/drawing/2014/main" xmlns="" id="{D959D3BD-C4BA-4978-8F2B-D2513C7E21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4475621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88" name="Rechteck 25">
            <a:extLst>
              <a:ext uri="{FF2B5EF4-FFF2-40B4-BE49-F238E27FC236}">
                <a16:creationId xmlns:a16="http://schemas.microsoft.com/office/drawing/2014/main" xmlns="" id="{1D87D86F-6B74-4AE4-937B-7C9ABC2661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4475621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89" name="Rechteck 26">
            <a:extLst>
              <a:ext uri="{FF2B5EF4-FFF2-40B4-BE49-F238E27FC236}">
                <a16:creationId xmlns:a16="http://schemas.microsoft.com/office/drawing/2014/main" xmlns="" id="{60543142-8706-4C19-9E82-69DE08641A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4748077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90" name="Rechteck 25">
            <a:extLst>
              <a:ext uri="{FF2B5EF4-FFF2-40B4-BE49-F238E27FC236}">
                <a16:creationId xmlns:a16="http://schemas.microsoft.com/office/drawing/2014/main" xmlns="" id="{2677C189-7E67-4DCC-9262-6096F84455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4748077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91" name="Rechteck 26">
            <a:extLst>
              <a:ext uri="{FF2B5EF4-FFF2-40B4-BE49-F238E27FC236}">
                <a16:creationId xmlns:a16="http://schemas.microsoft.com/office/drawing/2014/main" xmlns="" id="{4EF52DC5-2933-4AC3-ACBD-A4FE9A23C7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5020536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92" name="Rechteck 23">
            <a:extLst>
              <a:ext uri="{FF2B5EF4-FFF2-40B4-BE49-F238E27FC236}">
                <a16:creationId xmlns:a16="http://schemas.microsoft.com/office/drawing/2014/main" xmlns="" id="{2EBE21BB-230A-4DB4-B6E5-3095DFD670D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5020536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93" name="Rechteck 24">
            <a:extLst>
              <a:ext uri="{FF2B5EF4-FFF2-40B4-BE49-F238E27FC236}">
                <a16:creationId xmlns:a16="http://schemas.microsoft.com/office/drawing/2014/main" xmlns="" id="{3B9E07E7-9CA0-498F-A012-6862534BED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5020536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94" name="Rechteck 25">
            <a:extLst>
              <a:ext uri="{FF2B5EF4-FFF2-40B4-BE49-F238E27FC236}">
                <a16:creationId xmlns:a16="http://schemas.microsoft.com/office/drawing/2014/main" xmlns="" id="{DE4A9483-4F9A-40D3-8FA5-38FAD44FD1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5020536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95" name="Rechteck 26">
            <a:extLst>
              <a:ext uri="{FF2B5EF4-FFF2-40B4-BE49-F238E27FC236}">
                <a16:creationId xmlns:a16="http://schemas.microsoft.com/office/drawing/2014/main" xmlns="" id="{E5EA676B-AAAA-4897-9FEA-329CF73DC6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529416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996" name="Rechteck 23">
            <a:extLst>
              <a:ext uri="{FF2B5EF4-FFF2-40B4-BE49-F238E27FC236}">
                <a16:creationId xmlns:a16="http://schemas.microsoft.com/office/drawing/2014/main" xmlns="" id="{6F64E393-1D75-4A8E-B78B-7CF632793AC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529416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97" name="Rechteck 24">
            <a:extLst>
              <a:ext uri="{FF2B5EF4-FFF2-40B4-BE49-F238E27FC236}">
                <a16:creationId xmlns:a16="http://schemas.microsoft.com/office/drawing/2014/main" xmlns="" id="{5F1983B4-FC1E-4586-9DA8-0DDFFA19B5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529416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98" name="Rechteck 25">
            <a:extLst>
              <a:ext uri="{FF2B5EF4-FFF2-40B4-BE49-F238E27FC236}">
                <a16:creationId xmlns:a16="http://schemas.microsoft.com/office/drawing/2014/main" xmlns="" id="{E8AFB3E7-FC55-4AC5-BD10-AAB787CDBA8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529416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999" name="Rechteck 26">
            <a:extLst>
              <a:ext uri="{FF2B5EF4-FFF2-40B4-BE49-F238E27FC236}">
                <a16:creationId xmlns:a16="http://schemas.microsoft.com/office/drawing/2014/main" xmlns="" id="{DB0EB0A9-7483-4B98-A835-FE08CCB3C78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43076" y="5567791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00" name="Rechteck 23">
            <a:extLst>
              <a:ext uri="{FF2B5EF4-FFF2-40B4-BE49-F238E27FC236}">
                <a16:creationId xmlns:a16="http://schemas.microsoft.com/office/drawing/2014/main" xmlns="" id="{6157A78B-919C-47F7-B2A2-53466464BF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91760" y="5567791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01" name="Rechteck 24">
            <a:extLst>
              <a:ext uri="{FF2B5EF4-FFF2-40B4-BE49-F238E27FC236}">
                <a16:creationId xmlns:a16="http://schemas.microsoft.com/office/drawing/2014/main" xmlns="" id="{565F6BFD-AF8E-46CB-BEC9-9ABA4AB39F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7708" y="5567791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02" name="Rechteck 25">
            <a:extLst>
              <a:ext uri="{FF2B5EF4-FFF2-40B4-BE49-F238E27FC236}">
                <a16:creationId xmlns:a16="http://schemas.microsoft.com/office/drawing/2014/main" xmlns="" id="{FF3ADB63-6F94-456C-8A6E-DA6B028A87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5395" y="5567791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04" name="Rechteck 26">
            <a:extLst>
              <a:ext uri="{FF2B5EF4-FFF2-40B4-BE49-F238E27FC236}">
                <a16:creationId xmlns:a16="http://schemas.microsoft.com/office/drawing/2014/main" xmlns="" id="{0D297911-E1BF-4903-84EE-0E73E49DB8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5841423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05" name="Rechteck 1">
            <a:extLst>
              <a:ext uri="{FF2B5EF4-FFF2-40B4-BE49-F238E27FC236}">
                <a16:creationId xmlns:a16="http://schemas.microsoft.com/office/drawing/2014/main" xmlns="" id="{4E7A4190-48E3-4E5C-BD07-9552EE5467B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6924" y="5841423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06" name="Rechteck 20">
            <a:extLst>
              <a:ext uri="{FF2B5EF4-FFF2-40B4-BE49-F238E27FC236}">
                <a16:creationId xmlns:a16="http://schemas.microsoft.com/office/drawing/2014/main" xmlns="" id="{EDEF3D35-325F-4E95-960E-F64F0FB9BE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2871" y="5841423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07" name="Rechteck 22">
            <a:extLst>
              <a:ext uri="{FF2B5EF4-FFF2-40B4-BE49-F238E27FC236}">
                <a16:creationId xmlns:a16="http://schemas.microsoft.com/office/drawing/2014/main" xmlns="" id="{59649812-4F61-4054-8F9B-F7722EB70D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40557" y="5841423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08" name="Rechteck 23">
            <a:extLst>
              <a:ext uri="{FF2B5EF4-FFF2-40B4-BE49-F238E27FC236}">
                <a16:creationId xmlns:a16="http://schemas.microsoft.com/office/drawing/2014/main" xmlns="" id="{63AF5A2C-05AE-4598-AA69-BA30FA39FD7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5841423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09" name="Rechteck 24">
            <a:extLst>
              <a:ext uri="{FF2B5EF4-FFF2-40B4-BE49-F238E27FC236}">
                <a16:creationId xmlns:a16="http://schemas.microsoft.com/office/drawing/2014/main" xmlns="" id="{AC0661E1-AFAD-4EBB-A381-65E6829E5D9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5841423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10" name="Rechteck 25">
            <a:extLst>
              <a:ext uri="{FF2B5EF4-FFF2-40B4-BE49-F238E27FC236}">
                <a16:creationId xmlns:a16="http://schemas.microsoft.com/office/drawing/2014/main" xmlns="" id="{35FD6C07-FFBD-485F-9E53-F7C179D8B86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5841423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11" name="Rechteck 26">
            <a:extLst>
              <a:ext uri="{FF2B5EF4-FFF2-40B4-BE49-F238E27FC236}">
                <a16:creationId xmlns:a16="http://schemas.microsoft.com/office/drawing/2014/main" xmlns="" id="{3B6A9D4F-8FD0-4D7C-B586-7FB3ECBF99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2021585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12" name="Rechteck 23">
            <a:extLst>
              <a:ext uri="{FF2B5EF4-FFF2-40B4-BE49-F238E27FC236}">
                <a16:creationId xmlns:a16="http://schemas.microsoft.com/office/drawing/2014/main" xmlns="" id="{801AE19F-7C12-444F-BD27-D385A97843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2021585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13" name="Rechteck 24">
            <a:extLst>
              <a:ext uri="{FF2B5EF4-FFF2-40B4-BE49-F238E27FC236}">
                <a16:creationId xmlns:a16="http://schemas.microsoft.com/office/drawing/2014/main" xmlns="" id="{C31B84D2-2CCC-4313-9340-84A49C14D6C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2021585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14" name="Rechteck 25">
            <a:extLst>
              <a:ext uri="{FF2B5EF4-FFF2-40B4-BE49-F238E27FC236}">
                <a16:creationId xmlns:a16="http://schemas.microsoft.com/office/drawing/2014/main" xmlns="" id="{B7A8A3DD-9EA6-442F-B86C-48AA376AF1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2021585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15" name="Rechteck 26">
            <a:extLst>
              <a:ext uri="{FF2B5EF4-FFF2-40B4-BE49-F238E27FC236}">
                <a16:creationId xmlns:a16="http://schemas.microsoft.com/office/drawing/2014/main" xmlns="" id="{D40768DD-EB35-4138-97CE-EF195249455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2295213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16" name="Rechteck 23">
            <a:extLst>
              <a:ext uri="{FF2B5EF4-FFF2-40B4-BE49-F238E27FC236}">
                <a16:creationId xmlns:a16="http://schemas.microsoft.com/office/drawing/2014/main" xmlns="" id="{CFAD4B8F-A310-4372-A157-CE18735A43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2295213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17" name="Rechteck 24">
            <a:extLst>
              <a:ext uri="{FF2B5EF4-FFF2-40B4-BE49-F238E27FC236}">
                <a16:creationId xmlns:a16="http://schemas.microsoft.com/office/drawing/2014/main" xmlns="" id="{5DCC935D-F257-4669-BDE3-5E8BEDB62DF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2295213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18" name="Rechteck 25">
            <a:extLst>
              <a:ext uri="{FF2B5EF4-FFF2-40B4-BE49-F238E27FC236}">
                <a16:creationId xmlns:a16="http://schemas.microsoft.com/office/drawing/2014/main" xmlns="" id="{45410715-09A3-4C73-95E6-8F4CAC3E7A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2295213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19" name="Rechteck 26">
            <a:extLst>
              <a:ext uri="{FF2B5EF4-FFF2-40B4-BE49-F238E27FC236}">
                <a16:creationId xmlns:a16="http://schemas.microsoft.com/office/drawing/2014/main" xmlns="" id="{ACD3CED9-27CC-480C-8B87-63D208076A2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256884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20" name="Rechteck 23">
            <a:extLst>
              <a:ext uri="{FF2B5EF4-FFF2-40B4-BE49-F238E27FC236}">
                <a16:creationId xmlns:a16="http://schemas.microsoft.com/office/drawing/2014/main" xmlns="" id="{85C28C90-D295-40AF-B99B-3852C26966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256884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21" name="Rechteck 24">
            <a:extLst>
              <a:ext uri="{FF2B5EF4-FFF2-40B4-BE49-F238E27FC236}">
                <a16:creationId xmlns:a16="http://schemas.microsoft.com/office/drawing/2014/main" xmlns="" id="{CD0D1C7D-85D3-4A60-9EB5-4323CA812E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256884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22" name="Rechteck 25">
            <a:extLst>
              <a:ext uri="{FF2B5EF4-FFF2-40B4-BE49-F238E27FC236}">
                <a16:creationId xmlns:a16="http://schemas.microsoft.com/office/drawing/2014/main" xmlns="" id="{AB111EA1-DA81-4A45-997A-CAB075A3E7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256884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23" name="Rechteck 26">
            <a:extLst>
              <a:ext uri="{FF2B5EF4-FFF2-40B4-BE49-F238E27FC236}">
                <a16:creationId xmlns:a16="http://schemas.microsoft.com/office/drawing/2014/main" xmlns="" id="{C2C72979-EC82-439C-A7B1-16271D093E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2842470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24" name="Rechteck 23">
            <a:extLst>
              <a:ext uri="{FF2B5EF4-FFF2-40B4-BE49-F238E27FC236}">
                <a16:creationId xmlns:a16="http://schemas.microsoft.com/office/drawing/2014/main" xmlns="" id="{3BF46B31-4740-4266-B12C-04DD8F9112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2842470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25" name="Rechteck 24">
            <a:extLst>
              <a:ext uri="{FF2B5EF4-FFF2-40B4-BE49-F238E27FC236}">
                <a16:creationId xmlns:a16="http://schemas.microsoft.com/office/drawing/2014/main" xmlns="" id="{56776A4C-0407-4AAB-BDC9-6B7FDEDFE78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2842470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26" name="Rechteck 25">
            <a:extLst>
              <a:ext uri="{FF2B5EF4-FFF2-40B4-BE49-F238E27FC236}">
                <a16:creationId xmlns:a16="http://schemas.microsoft.com/office/drawing/2014/main" xmlns="" id="{AD6E97F7-1FAE-42E5-917F-008B4052B4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2842470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27" name="Rechteck 26">
            <a:extLst>
              <a:ext uri="{FF2B5EF4-FFF2-40B4-BE49-F238E27FC236}">
                <a16:creationId xmlns:a16="http://schemas.microsoft.com/office/drawing/2014/main" xmlns="" id="{B71D078E-F39C-409C-BFB3-3294F426C2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3116100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28" name="Rechteck 23">
            <a:extLst>
              <a:ext uri="{FF2B5EF4-FFF2-40B4-BE49-F238E27FC236}">
                <a16:creationId xmlns:a16="http://schemas.microsoft.com/office/drawing/2014/main" xmlns="" id="{BAA455EA-25C3-436D-A9AD-0C57F46DB0B9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3116100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29" name="Rechteck 24">
            <a:extLst>
              <a:ext uri="{FF2B5EF4-FFF2-40B4-BE49-F238E27FC236}">
                <a16:creationId xmlns:a16="http://schemas.microsoft.com/office/drawing/2014/main" xmlns="" id="{9E5B798E-38AC-4608-8A5C-5449BF6724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3116100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30" name="Rechteck 25">
            <a:extLst>
              <a:ext uri="{FF2B5EF4-FFF2-40B4-BE49-F238E27FC236}">
                <a16:creationId xmlns:a16="http://schemas.microsoft.com/office/drawing/2014/main" xmlns="" id="{1B6F2B14-979C-44DE-83D9-93304D6697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3116100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31" name="Rechteck 26">
            <a:extLst>
              <a:ext uri="{FF2B5EF4-FFF2-40B4-BE49-F238E27FC236}">
                <a16:creationId xmlns:a16="http://schemas.microsoft.com/office/drawing/2014/main" xmlns="" id="{6472718F-E4F6-47CA-981B-1932E572BEF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3389728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32" name="Rechteck 1">
            <a:extLst>
              <a:ext uri="{FF2B5EF4-FFF2-40B4-BE49-F238E27FC236}">
                <a16:creationId xmlns:a16="http://schemas.microsoft.com/office/drawing/2014/main" xmlns="" id="{AFFD27C1-BCFA-4FE5-BB92-DD64450EB0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6924" y="3389728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33" name="Rechteck 20">
            <a:extLst>
              <a:ext uri="{FF2B5EF4-FFF2-40B4-BE49-F238E27FC236}">
                <a16:creationId xmlns:a16="http://schemas.microsoft.com/office/drawing/2014/main" xmlns="" id="{D68B099E-14FC-4AED-9DB0-ECB3C29855C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2871" y="3389728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34" name="Rechteck 22">
            <a:extLst>
              <a:ext uri="{FF2B5EF4-FFF2-40B4-BE49-F238E27FC236}">
                <a16:creationId xmlns:a16="http://schemas.microsoft.com/office/drawing/2014/main" xmlns="" id="{FC59305F-01AC-4B5F-8D19-8518C5771D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40557" y="3389728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35" name="Rechteck 23">
            <a:extLst>
              <a:ext uri="{FF2B5EF4-FFF2-40B4-BE49-F238E27FC236}">
                <a16:creationId xmlns:a16="http://schemas.microsoft.com/office/drawing/2014/main" xmlns="" id="{6CC0B0A0-B1A4-43D8-8717-ED92211695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3389728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36" name="Rechteck 24">
            <a:extLst>
              <a:ext uri="{FF2B5EF4-FFF2-40B4-BE49-F238E27FC236}">
                <a16:creationId xmlns:a16="http://schemas.microsoft.com/office/drawing/2014/main" xmlns="" id="{D37B2CD0-7B89-4652-83F7-899309A2C0C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3389728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37" name="Rechteck 25">
            <a:extLst>
              <a:ext uri="{FF2B5EF4-FFF2-40B4-BE49-F238E27FC236}">
                <a16:creationId xmlns:a16="http://schemas.microsoft.com/office/drawing/2014/main" xmlns="" id="{C5B61FB1-7D51-498B-808C-400499F420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3389728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38" name="Rechteck 26">
            <a:extLst>
              <a:ext uri="{FF2B5EF4-FFF2-40B4-BE49-F238E27FC236}">
                <a16:creationId xmlns:a16="http://schemas.microsoft.com/office/drawing/2014/main" xmlns="" id="{4F49F2CC-FCF6-4088-A618-265DCDB9F9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3654737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39" name="Rechteck 1">
            <a:extLst>
              <a:ext uri="{FF2B5EF4-FFF2-40B4-BE49-F238E27FC236}">
                <a16:creationId xmlns:a16="http://schemas.microsoft.com/office/drawing/2014/main" xmlns="" id="{BE192A52-C42D-4DB2-AA1A-E0AE3FC648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6924" y="3654737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40" name="Rechteck 20">
            <a:extLst>
              <a:ext uri="{FF2B5EF4-FFF2-40B4-BE49-F238E27FC236}">
                <a16:creationId xmlns:a16="http://schemas.microsoft.com/office/drawing/2014/main" xmlns="" id="{874D5148-539A-4D2D-932F-88DD55E288E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2871" y="3654737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41" name="Rechteck 22">
            <a:extLst>
              <a:ext uri="{FF2B5EF4-FFF2-40B4-BE49-F238E27FC236}">
                <a16:creationId xmlns:a16="http://schemas.microsoft.com/office/drawing/2014/main" xmlns="" id="{EAA26B98-D2AD-486B-B6F8-8CD10F0C08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40557" y="3654737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42" name="Rechteck 23">
            <a:extLst>
              <a:ext uri="{FF2B5EF4-FFF2-40B4-BE49-F238E27FC236}">
                <a16:creationId xmlns:a16="http://schemas.microsoft.com/office/drawing/2014/main" xmlns="" id="{2076A107-56F2-439F-8434-8D72123AA44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3654737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43" name="Rechteck 24">
            <a:extLst>
              <a:ext uri="{FF2B5EF4-FFF2-40B4-BE49-F238E27FC236}">
                <a16:creationId xmlns:a16="http://schemas.microsoft.com/office/drawing/2014/main" xmlns="" id="{B3804CC8-BC49-416F-A4D2-471D926CBB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3654737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44" name="Rechteck 25">
            <a:extLst>
              <a:ext uri="{FF2B5EF4-FFF2-40B4-BE49-F238E27FC236}">
                <a16:creationId xmlns:a16="http://schemas.microsoft.com/office/drawing/2014/main" xmlns="" id="{8EC89568-79F6-4A32-9521-757CC8880B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3654737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45" name="Rechteck 26">
            <a:extLst>
              <a:ext uri="{FF2B5EF4-FFF2-40B4-BE49-F238E27FC236}">
                <a16:creationId xmlns:a16="http://schemas.microsoft.com/office/drawing/2014/main" xmlns="" id="{9D01D56C-7F3E-4094-A76A-4E70020BA58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3928365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46" name="Rechteck 1">
            <a:extLst>
              <a:ext uri="{FF2B5EF4-FFF2-40B4-BE49-F238E27FC236}">
                <a16:creationId xmlns:a16="http://schemas.microsoft.com/office/drawing/2014/main" xmlns="" id="{528D8087-E9E1-476F-89FA-EC993BE515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6924" y="3928365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47" name="Rechteck 20">
            <a:extLst>
              <a:ext uri="{FF2B5EF4-FFF2-40B4-BE49-F238E27FC236}">
                <a16:creationId xmlns:a16="http://schemas.microsoft.com/office/drawing/2014/main" xmlns="" id="{6EC36141-6761-49B1-AC4C-A277C9651A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2871" y="3928365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48" name="Rechteck 22">
            <a:extLst>
              <a:ext uri="{FF2B5EF4-FFF2-40B4-BE49-F238E27FC236}">
                <a16:creationId xmlns:a16="http://schemas.microsoft.com/office/drawing/2014/main" xmlns="" id="{1FE9EDC5-1E57-41D4-A2E6-509A52B05AB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40557" y="3928365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49" name="Rechteck 23">
            <a:extLst>
              <a:ext uri="{FF2B5EF4-FFF2-40B4-BE49-F238E27FC236}">
                <a16:creationId xmlns:a16="http://schemas.microsoft.com/office/drawing/2014/main" xmlns="" id="{053CFFAF-BB0F-4555-9B96-518AE5AD5F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3928365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50" name="Rechteck 24">
            <a:extLst>
              <a:ext uri="{FF2B5EF4-FFF2-40B4-BE49-F238E27FC236}">
                <a16:creationId xmlns:a16="http://schemas.microsoft.com/office/drawing/2014/main" xmlns="" id="{037E6697-479D-4858-9DD5-009B660D34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3928365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51" name="Rechteck 25">
            <a:extLst>
              <a:ext uri="{FF2B5EF4-FFF2-40B4-BE49-F238E27FC236}">
                <a16:creationId xmlns:a16="http://schemas.microsoft.com/office/drawing/2014/main" xmlns="" id="{90AFE404-4FD7-4A98-81A0-3B63C4DC4E8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3928365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52" name="Rechteck 26">
            <a:extLst>
              <a:ext uri="{FF2B5EF4-FFF2-40B4-BE49-F238E27FC236}">
                <a16:creationId xmlns:a16="http://schemas.microsoft.com/office/drawing/2014/main" xmlns="" id="{1BAA33E2-4382-4A92-A7E2-78E194F8584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420199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53" name="Rechteck 1">
            <a:extLst>
              <a:ext uri="{FF2B5EF4-FFF2-40B4-BE49-F238E27FC236}">
                <a16:creationId xmlns:a16="http://schemas.microsoft.com/office/drawing/2014/main" xmlns="" id="{208B3F80-8B2C-4576-AF7E-940B3DDBDB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6924" y="4201992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54" name="Rechteck 20">
            <a:extLst>
              <a:ext uri="{FF2B5EF4-FFF2-40B4-BE49-F238E27FC236}">
                <a16:creationId xmlns:a16="http://schemas.microsoft.com/office/drawing/2014/main" xmlns="" id="{CB7C5C00-382A-4E18-9CB7-7943246AB30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2871" y="4201992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55" name="Rechteck 22">
            <a:extLst>
              <a:ext uri="{FF2B5EF4-FFF2-40B4-BE49-F238E27FC236}">
                <a16:creationId xmlns:a16="http://schemas.microsoft.com/office/drawing/2014/main" xmlns="" id="{9F3F9140-03A8-4571-844A-3616F9369FC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40557" y="4201992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56" name="Rechteck 23">
            <a:extLst>
              <a:ext uri="{FF2B5EF4-FFF2-40B4-BE49-F238E27FC236}">
                <a16:creationId xmlns:a16="http://schemas.microsoft.com/office/drawing/2014/main" xmlns="" id="{811818CC-D7D7-4413-9ED2-11CE56644E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420199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57" name="Rechteck 24">
            <a:extLst>
              <a:ext uri="{FF2B5EF4-FFF2-40B4-BE49-F238E27FC236}">
                <a16:creationId xmlns:a16="http://schemas.microsoft.com/office/drawing/2014/main" xmlns="" id="{51E76CA5-23FE-42A6-A337-4AEBBB4206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420199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58" name="Rechteck 25">
            <a:extLst>
              <a:ext uri="{FF2B5EF4-FFF2-40B4-BE49-F238E27FC236}">
                <a16:creationId xmlns:a16="http://schemas.microsoft.com/office/drawing/2014/main" xmlns="" id="{A6618085-6DBD-4F21-9476-97E7D7AEC7F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420199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59" name="Rechteck 26">
            <a:extLst>
              <a:ext uri="{FF2B5EF4-FFF2-40B4-BE49-F238E27FC236}">
                <a16:creationId xmlns:a16="http://schemas.microsoft.com/office/drawing/2014/main" xmlns="" id="{DB821D7E-E25A-433D-8DCA-5212EEF378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4475621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60" name="Rechteck 23">
            <a:extLst>
              <a:ext uri="{FF2B5EF4-FFF2-40B4-BE49-F238E27FC236}">
                <a16:creationId xmlns:a16="http://schemas.microsoft.com/office/drawing/2014/main" xmlns="" id="{BD46D1FF-1C52-45AD-AEA5-932EEE2459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4475621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61" name="Rechteck 24">
            <a:extLst>
              <a:ext uri="{FF2B5EF4-FFF2-40B4-BE49-F238E27FC236}">
                <a16:creationId xmlns:a16="http://schemas.microsoft.com/office/drawing/2014/main" xmlns="" id="{1807DC16-28B5-45DA-AB56-9B894C4EE8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4475621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62" name="Rechteck 25">
            <a:extLst>
              <a:ext uri="{FF2B5EF4-FFF2-40B4-BE49-F238E27FC236}">
                <a16:creationId xmlns:a16="http://schemas.microsoft.com/office/drawing/2014/main" xmlns="" id="{A4CC0C51-50D6-412D-B542-FBA342507D7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4475621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63" name="Rechteck 26">
            <a:extLst>
              <a:ext uri="{FF2B5EF4-FFF2-40B4-BE49-F238E27FC236}">
                <a16:creationId xmlns:a16="http://schemas.microsoft.com/office/drawing/2014/main" xmlns="" id="{479D4728-EABB-40AE-80F0-A60448F3BDE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4748077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64" name="Rechteck 23">
            <a:extLst>
              <a:ext uri="{FF2B5EF4-FFF2-40B4-BE49-F238E27FC236}">
                <a16:creationId xmlns:a16="http://schemas.microsoft.com/office/drawing/2014/main" xmlns="" id="{BC888C48-F2F5-457C-912F-0E9EB90D1E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4748077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65" name="Rechteck 24">
            <a:extLst>
              <a:ext uri="{FF2B5EF4-FFF2-40B4-BE49-F238E27FC236}">
                <a16:creationId xmlns:a16="http://schemas.microsoft.com/office/drawing/2014/main" xmlns="" id="{463F6290-A424-4CF9-A4C8-8C91FDF7B4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4748077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66" name="Rechteck 25">
            <a:extLst>
              <a:ext uri="{FF2B5EF4-FFF2-40B4-BE49-F238E27FC236}">
                <a16:creationId xmlns:a16="http://schemas.microsoft.com/office/drawing/2014/main" xmlns="" id="{638F3289-722B-4D8F-BC50-CA2CA1AEE5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4748077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67" name="Rechteck 26">
            <a:extLst>
              <a:ext uri="{FF2B5EF4-FFF2-40B4-BE49-F238E27FC236}">
                <a16:creationId xmlns:a16="http://schemas.microsoft.com/office/drawing/2014/main" xmlns="" id="{D036575C-308E-4DCA-9E62-0B368C4BA3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5020536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68" name="Rechteck 1">
            <a:extLst>
              <a:ext uri="{FF2B5EF4-FFF2-40B4-BE49-F238E27FC236}">
                <a16:creationId xmlns:a16="http://schemas.microsoft.com/office/drawing/2014/main" xmlns="" id="{7A404476-B831-46E3-A2E6-8277954757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6924" y="5020536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69" name="Rechteck 20">
            <a:extLst>
              <a:ext uri="{FF2B5EF4-FFF2-40B4-BE49-F238E27FC236}">
                <a16:creationId xmlns:a16="http://schemas.microsoft.com/office/drawing/2014/main" xmlns="" id="{90FA4EA1-C993-4F37-A827-F84E4AE86B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2871" y="5020536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70" name="Rechteck 22">
            <a:extLst>
              <a:ext uri="{FF2B5EF4-FFF2-40B4-BE49-F238E27FC236}">
                <a16:creationId xmlns:a16="http://schemas.microsoft.com/office/drawing/2014/main" xmlns="" id="{E372E3AF-6E41-4A0F-8C96-8CC37F42A9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40557" y="5020536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71" name="Rechteck 23">
            <a:extLst>
              <a:ext uri="{FF2B5EF4-FFF2-40B4-BE49-F238E27FC236}">
                <a16:creationId xmlns:a16="http://schemas.microsoft.com/office/drawing/2014/main" xmlns="" id="{318AC135-F111-44EC-AD53-1B1B93F3FB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5020536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72" name="Rechteck 24">
            <a:extLst>
              <a:ext uri="{FF2B5EF4-FFF2-40B4-BE49-F238E27FC236}">
                <a16:creationId xmlns:a16="http://schemas.microsoft.com/office/drawing/2014/main" xmlns="" id="{6035060A-FFE9-49B6-B25A-0A7D8D49F3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5020536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73" name="Rechteck 25">
            <a:extLst>
              <a:ext uri="{FF2B5EF4-FFF2-40B4-BE49-F238E27FC236}">
                <a16:creationId xmlns:a16="http://schemas.microsoft.com/office/drawing/2014/main" xmlns="" id="{7EB51162-AF13-4C30-9164-836AEDCCE9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5020536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74" name="Rechteck 26">
            <a:extLst>
              <a:ext uri="{FF2B5EF4-FFF2-40B4-BE49-F238E27FC236}">
                <a16:creationId xmlns:a16="http://schemas.microsoft.com/office/drawing/2014/main" xmlns="" id="{CC683345-B3AF-4AFA-AECD-0E1DC0AFB7B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529416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75" name="Rechteck 1">
            <a:extLst>
              <a:ext uri="{FF2B5EF4-FFF2-40B4-BE49-F238E27FC236}">
                <a16:creationId xmlns:a16="http://schemas.microsoft.com/office/drawing/2014/main" xmlns="" id="{A0B22A21-80C2-40FE-89EC-7B3F579273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6924" y="5294162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76" name="Rechteck 20">
            <a:extLst>
              <a:ext uri="{FF2B5EF4-FFF2-40B4-BE49-F238E27FC236}">
                <a16:creationId xmlns:a16="http://schemas.microsoft.com/office/drawing/2014/main" xmlns="" id="{2702ED28-9484-4481-9688-E0F24544E1F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2871" y="5294162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77" name="Rechteck 22">
            <a:extLst>
              <a:ext uri="{FF2B5EF4-FFF2-40B4-BE49-F238E27FC236}">
                <a16:creationId xmlns:a16="http://schemas.microsoft.com/office/drawing/2014/main" xmlns="" id="{51D124FE-BA17-45BA-A6FC-632396AE0FD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40557" y="5294162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78" name="Rechteck 23">
            <a:extLst>
              <a:ext uri="{FF2B5EF4-FFF2-40B4-BE49-F238E27FC236}">
                <a16:creationId xmlns:a16="http://schemas.microsoft.com/office/drawing/2014/main" xmlns="" id="{72D04C1D-6DD9-48A1-9D95-D6DBA38608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529416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79" name="Rechteck 24">
            <a:extLst>
              <a:ext uri="{FF2B5EF4-FFF2-40B4-BE49-F238E27FC236}">
                <a16:creationId xmlns:a16="http://schemas.microsoft.com/office/drawing/2014/main" xmlns="" id="{8D909FE3-61BD-479B-90AB-9388B6AC80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529416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80" name="Rechteck 25">
            <a:extLst>
              <a:ext uri="{FF2B5EF4-FFF2-40B4-BE49-F238E27FC236}">
                <a16:creationId xmlns:a16="http://schemas.microsoft.com/office/drawing/2014/main" xmlns="" id="{EC0EF1DD-581F-4BD2-9B1D-61B203F070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529416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81" name="Rechteck 1">
            <a:extLst>
              <a:ext uri="{FF2B5EF4-FFF2-40B4-BE49-F238E27FC236}">
                <a16:creationId xmlns:a16="http://schemas.microsoft.com/office/drawing/2014/main" xmlns="" id="{EAA75A0C-3161-4B79-B795-E53658048B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6924" y="5567791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82" name="Rechteck 20">
            <a:extLst>
              <a:ext uri="{FF2B5EF4-FFF2-40B4-BE49-F238E27FC236}">
                <a16:creationId xmlns:a16="http://schemas.microsoft.com/office/drawing/2014/main" xmlns="" id="{53C1D4FF-44DA-4F08-988D-92F9CC0FCE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22871" y="5567791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83" name="Rechteck 22">
            <a:extLst>
              <a:ext uri="{FF2B5EF4-FFF2-40B4-BE49-F238E27FC236}">
                <a16:creationId xmlns:a16="http://schemas.microsoft.com/office/drawing/2014/main" xmlns="" id="{F9E58007-014B-409E-B02F-03370C4F4E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40557" y="5567791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84" name="Rechteck 26">
            <a:extLst>
              <a:ext uri="{FF2B5EF4-FFF2-40B4-BE49-F238E27FC236}">
                <a16:creationId xmlns:a16="http://schemas.microsoft.com/office/drawing/2014/main" xmlns="" id="{3B05814A-242D-4005-80B3-AAEDF7217E3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09560" y="5567791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85" name="Rechteck 23">
            <a:extLst>
              <a:ext uri="{FF2B5EF4-FFF2-40B4-BE49-F238E27FC236}">
                <a16:creationId xmlns:a16="http://schemas.microsoft.com/office/drawing/2014/main" xmlns="" id="{139ADCD0-A592-43C9-B923-645FF760DF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58244" y="5567791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86" name="Rechteck 24">
            <a:extLst>
              <a:ext uri="{FF2B5EF4-FFF2-40B4-BE49-F238E27FC236}">
                <a16:creationId xmlns:a16="http://schemas.microsoft.com/office/drawing/2014/main" xmlns="" id="{050D4206-C25C-4688-A4D6-A77DEE961B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4191" y="5567791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87" name="Rechteck 25">
            <a:extLst>
              <a:ext uri="{FF2B5EF4-FFF2-40B4-BE49-F238E27FC236}">
                <a16:creationId xmlns:a16="http://schemas.microsoft.com/office/drawing/2014/main" xmlns="" id="{A5A82ED1-C9FF-49D6-967F-EC467E62B3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1877" y="5567791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89" name="Rechteck 26">
            <a:extLst>
              <a:ext uri="{FF2B5EF4-FFF2-40B4-BE49-F238E27FC236}">
                <a16:creationId xmlns:a16="http://schemas.microsoft.com/office/drawing/2014/main" xmlns="" id="{06C25B0D-F14C-42B4-A6D6-150E521453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5841423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90" name="Rechteck 1">
            <a:extLst>
              <a:ext uri="{FF2B5EF4-FFF2-40B4-BE49-F238E27FC236}">
                <a16:creationId xmlns:a16="http://schemas.microsoft.com/office/drawing/2014/main" xmlns="" id="{4A6D7656-C07A-4440-BA3D-6EE0D31304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3368" y="5841423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91" name="Rechteck 20">
            <a:extLst>
              <a:ext uri="{FF2B5EF4-FFF2-40B4-BE49-F238E27FC236}">
                <a16:creationId xmlns:a16="http://schemas.microsoft.com/office/drawing/2014/main" xmlns="" id="{AD8CB42E-7531-4EC1-B1C1-6FA7760B66D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5841423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92" name="Rechteck 22">
            <a:extLst>
              <a:ext uri="{FF2B5EF4-FFF2-40B4-BE49-F238E27FC236}">
                <a16:creationId xmlns:a16="http://schemas.microsoft.com/office/drawing/2014/main" xmlns="" id="{EC963601-C833-401B-BBE8-6E9589089D8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5841423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93" name="Rechteck 23">
            <a:extLst>
              <a:ext uri="{FF2B5EF4-FFF2-40B4-BE49-F238E27FC236}">
                <a16:creationId xmlns:a16="http://schemas.microsoft.com/office/drawing/2014/main" xmlns="" id="{7C100BAD-8AD4-4D4A-93B9-6E95407C29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5841423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94" name="Rechteck 24">
            <a:extLst>
              <a:ext uri="{FF2B5EF4-FFF2-40B4-BE49-F238E27FC236}">
                <a16:creationId xmlns:a16="http://schemas.microsoft.com/office/drawing/2014/main" xmlns="" id="{04378478-7B38-42B7-A4A6-DCC9116B257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5841423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95" name="Rechteck 25">
            <a:extLst>
              <a:ext uri="{FF2B5EF4-FFF2-40B4-BE49-F238E27FC236}">
                <a16:creationId xmlns:a16="http://schemas.microsoft.com/office/drawing/2014/main" xmlns="" id="{685F9486-3209-4D53-B61D-492BA0E194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5841423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96" name="Rechteck 26">
            <a:extLst>
              <a:ext uri="{FF2B5EF4-FFF2-40B4-BE49-F238E27FC236}">
                <a16:creationId xmlns:a16="http://schemas.microsoft.com/office/drawing/2014/main" xmlns="" id="{BAF6CA69-442A-4822-A83F-9D163D760183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2021585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097" name="Rechteck 23">
            <a:extLst>
              <a:ext uri="{FF2B5EF4-FFF2-40B4-BE49-F238E27FC236}">
                <a16:creationId xmlns:a16="http://schemas.microsoft.com/office/drawing/2014/main" xmlns="" id="{AF6B557C-C9FB-4866-A3C2-370709294EC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2021585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98" name="Rechteck 24">
            <a:extLst>
              <a:ext uri="{FF2B5EF4-FFF2-40B4-BE49-F238E27FC236}">
                <a16:creationId xmlns:a16="http://schemas.microsoft.com/office/drawing/2014/main" xmlns="" id="{6CADFFC4-0B94-4DFC-90F5-2B39503679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2021585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099" name="Rechteck 25">
            <a:extLst>
              <a:ext uri="{FF2B5EF4-FFF2-40B4-BE49-F238E27FC236}">
                <a16:creationId xmlns:a16="http://schemas.microsoft.com/office/drawing/2014/main" xmlns="" id="{7222A947-5516-41AD-A968-A29D4CA81C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2021585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00" name="Rechteck 26">
            <a:extLst>
              <a:ext uri="{FF2B5EF4-FFF2-40B4-BE49-F238E27FC236}">
                <a16:creationId xmlns:a16="http://schemas.microsoft.com/office/drawing/2014/main" xmlns="" id="{55F41630-D80F-4A1F-90DD-F3ABE7847048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2295213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01" name="Rechteck 23">
            <a:extLst>
              <a:ext uri="{FF2B5EF4-FFF2-40B4-BE49-F238E27FC236}">
                <a16:creationId xmlns:a16="http://schemas.microsoft.com/office/drawing/2014/main" xmlns="" id="{225E8BD9-0438-4513-952B-2B6F00A376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2295213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02" name="Rechteck 24">
            <a:extLst>
              <a:ext uri="{FF2B5EF4-FFF2-40B4-BE49-F238E27FC236}">
                <a16:creationId xmlns:a16="http://schemas.microsoft.com/office/drawing/2014/main" xmlns="" id="{819D481D-5A74-42D8-BBD8-232853BBCB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2295213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03" name="Rechteck 25">
            <a:extLst>
              <a:ext uri="{FF2B5EF4-FFF2-40B4-BE49-F238E27FC236}">
                <a16:creationId xmlns:a16="http://schemas.microsoft.com/office/drawing/2014/main" xmlns="" id="{3CC3715C-2269-41ED-A80F-1E0D7BF5F9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2295213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04" name="Rechteck 26">
            <a:extLst>
              <a:ext uri="{FF2B5EF4-FFF2-40B4-BE49-F238E27FC236}">
                <a16:creationId xmlns:a16="http://schemas.microsoft.com/office/drawing/2014/main" xmlns="" id="{05EC0796-C98A-4813-A992-286C5886C9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256884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05" name="Rechteck 23">
            <a:extLst>
              <a:ext uri="{FF2B5EF4-FFF2-40B4-BE49-F238E27FC236}">
                <a16:creationId xmlns:a16="http://schemas.microsoft.com/office/drawing/2014/main" xmlns="" id="{C5AFB26B-2BF4-42DA-A591-6B3972721D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256884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06" name="Rechteck 24">
            <a:extLst>
              <a:ext uri="{FF2B5EF4-FFF2-40B4-BE49-F238E27FC236}">
                <a16:creationId xmlns:a16="http://schemas.microsoft.com/office/drawing/2014/main" xmlns="" id="{B3EFA4F5-CE53-4BD3-B42F-DBB786A53D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256884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07" name="Rechteck 25">
            <a:extLst>
              <a:ext uri="{FF2B5EF4-FFF2-40B4-BE49-F238E27FC236}">
                <a16:creationId xmlns:a16="http://schemas.microsoft.com/office/drawing/2014/main" xmlns="" id="{654A066F-D7D3-4945-9448-CAA923EECE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256884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08" name="Rechteck 26">
            <a:extLst>
              <a:ext uri="{FF2B5EF4-FFF2-40B4-BE49-F238E27FC236}">
                <a16:creationId xmlns:a16="http://schemas.microsoft.com/office/drawing/2014/main" xmlns="" id="{D139BEE7-AFDB-44BB-A502-CCE758D0DFC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2842470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09" name="Rechteck 1">
            <a:extLst>
              <a:ext uri="{FF2B5EF4-FFF2-40B4-BE49-F238E27FC236}">
                <a16:creationId xmlns:a16="http://schemas.microsoft.com/office/drawing/2014/main" xmlns="" id="{606263BE-D592-4594-8C0D-FB80D594797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3368" y="2842470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10" name="Rechteck 20">
            <a:extLst>
              <a:ext uri="{FF2B5EF4-FFF2-40B4-BE49-F238E27FC236}">
                <a16:creationId xmlns:a16="http://schemas.microsoft.com/office/drawing/2014/main" xmlns="" id="{B9B15534-51CC-4BB2-8719-1454C8ECFA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2842470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11" name="Rechteck 22">
            <a:extLst>
              <a:ext uri="{FF2B5EF4-FFF2-40B4-BE49-F238E27FC236}">
                <a16:creationId xmlns:a16="http://schemas.microsoft.com/office/drawing/2014/main" xmlns="" id="{C84DEDBF-B57E-4A2A-9420-59698804ED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2842470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12" name="Rechteck 23">
            <a:extLst>
              <a:ext uri="{FF2B5EF4-FFF2-40B4-BE49-F238E27FC236}">
                <a16:creationId xmlns:a16="http://schemas.microsoft.com/office/drawing/2014/main" xmlns="" id="{870FE058-63BE-490E-A56F-551DA20B1C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2842470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13" name="Rechteck 24">
            <a:extLst>
              <a:ext uri="{FF2B5EF4-FFF2-40B4-BE49-F238E27FC236}">
                <a16:creationId xmlns:a16="http://schemas.microsoft.com/office/drawing/2014/main" xmlns="" id="{D5462D57-A812-4DA4-93DB-43BFD93BFA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2842470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14" name="Rechteck 25">
            <a:extLst>
              <a:ext uri="{FF2B5EF4-FFF2-40B4-BE49-F238E27FC236}">
                <a16:creationId xmlns:a16="http://schemas.microsoft.com/office/drawing/2014/main" xmlns="" id="{9045EF7F-A078-4ACB-B928-B16FC3B09D6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2842470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15" name="Rechteck 26">
            <a:extLst>
              <a:ext uri="{FF2B5EF4-FFF2-40B4-BE49-F238E27FC236}">
                <a16:creationId xmlns:a16="http://schemas.microsoft.com/office/drawing/2014/main" xmlns="" id="{7C8ACF03-A03B-4909-86B8-53AED3D3A84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3116100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16" name="Rechteck 1">
            <a:extLst>
              <a:ext uri="{FF2B5EF4-FFF2-40B4-BE49-F238E27FC236}">
                <a16:creationId xmlns:a16="http://schemas.microsoft.com/office/drawing/2014/main" xmlns="" id="{123FF746-C972-49E5-93B6-1FB521DDF35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3368" y="3116100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17" name="Rechteck 20">
            <a:extLst>
              <a:ext uri="{FF2B5EF4-FFF2-40B4-BE49-F238E27FC236}">
                <a16:creationId xmlns:a16="http://schemas.microsoft.com/office/drawing/2014/main" xmlns="" id="{9DF13A7C-0C78-4720-AB4B-B171D4DF265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3116100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18" name="Rechteck 22">
            <a:extLst>
              <a:ext uri="{FF2B5EF4-FFF2-40B4-BE49-F238E27FC236}">
                <a16:creationId xmlns:a16="http://schemas.microsoft.com/office/drawing/2014/main" xmlns="" id="{16E2DF46-F24C-4A2E-AA7B-C800A2A646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3116100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19" name="Rechteck 23">
            <a:extLst>
              <a:ext uri="{FF2B5EF4-FFF2-40B4-BE49-F238E27FC236}">
                <a16:creationId xmlns:a16="http://schemas.microsoft.com/office/drawing/2014/main" xmlns="" id="{461AE96E-8D9C-4B37-8205-D0C508313DC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3116100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20" name="Rechteck 24">
            <a:extLst>
              <a:ext uri="{FF2B5EF4-FFF2-40B4-BE49-F238E27FC236}">
                <a16:creationId xmlns:a16="http://schemas.microsoft.com/office/drawing/2014/main" xmlns="" id="{65100DD8-0E0D-4824-B6B7-4734008AF26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3116100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21" name="Rechteck 25">
            <a:extLst>
              <a:ext uri="{FF2B5EF4-FFF2-40B4-BE49-F238E27FC236}">
                <a16:creationId xmlns:a16="http://schemas.microsoft.com/office/drawing/2014/main" xmlns="" id="{F53792B8-A5D3-463C-B3B6-E5CA731306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3116100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22" name="Rechteck 26">
            <a:extLst>
              <a:ext uri="{FF2B5EF4-FFF2-40B4-BE49-F238E27FC236}">
                <a16:creationId xmlns:a16="http://schemas.microsoft.com/office/drawing/2014/main" xmlns="" id="{7E9C3C0A-CC58-4DE8-8202-4AE724B70A7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3389728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23" name="Rechteck 1">
            <a:extLst>
              <a:ext uri="{FF2B5EF4-FFF2-40B4-BE49-F238E27FC236}">
                <a16:creationId xmlns:a16="http://schemas.microsoft.com/office/drawing/2014/main" xmlns="" id="{A9920F0A-6E0D-4A09-A8AD-2AF220B2CDC1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3368" y="3389728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24" name="Rechteck 20">
            <a:extLst>
              <a:ext uri="{FF2B5EF4-FFF2-40B4-BE49-F238E27FC236}">
                <a16:creationId xmlns:a16="http://schemas.microsoft.com/office/drawing/2014/main" xmlns="" id="{3BF85945-EB74-4A16-8430-DE74A0F012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3389728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25" name="Rechteck 22">
            <a:extLst>
              <a:ext uri="{FF2B5EF4-FFF2-40B4-BE49-F238E27FC236}">
                <a16:creationId xmlns:a16="http://schemas.microsoft.com/office/drawing/2014/main" xmlns="" id="{6E05D4A7-75B7-43FD-A14A-F9B62E2EFE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3389728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26" name="Rechteck 23">
            <a:extLst>
              <a:ext uri="{FF2B5EF4-FFF2-40B4-BE49-F238E27FC236}">
                <a16:creationId xmlns:a16="http://schemas.microsoft.com/office/drawing/2014/main" xmlns="" id="{5F8A5F73-341D-4CC9-A658-F612EB4AD9E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3389728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27" name="Rechteck 24">
            <a:extLst>
              <a:ext uri="{FF2B5EF4-FFF2-40B4-BE49-F238E27FC236}">
                <a16:creationId xmlns:a16="http://schemas.microsoft.com/office/drawing/2014/main" xmlns="" id="{BDA07683-D5CB-46AD-BA8C-F2ADB721B4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3389728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28" name="Rechteck 25">
            <a:extLst>
              <a:ext uri="{FF2B5EF4-FFF2-40B4-BE49-F238E27FC236}">
                <a16:creationId xmlns:a16="http://schemas.microsoft.com/office/drawing/2014/main" xmlns="" id="{01CC5B10-E56A-47EA-B1DF-6216A80522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3389728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29" name="Rechteck 26">
            <a:extLst>
              <a:ext uri="{FF2B5EF4-FFF2-40B4-BE49-F238E27FC236}">
                <a16:creationId xmlns:a16="http://schemas.microsoft.com/office/drawing/2014/main" xmlns="" id="{B00007BE-0486-41CC-AE58-59C9A9EDB9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3654737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30" name="Rechteck 1">
            <a:extLst>
              <a:ext uri="{FF2B5EF4-FFF2-40B4-BE49-F238E27FC236}">
                <a16:creationId xmlns:a16="http://schemas.microsoft.com/office/drawing/2014/main" xmlns="" id="{09CC9168-F609-4247-922B-BDA64CFA15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3368" y="3654737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31" name="Rechteck 20">
            <a:extLst>
              <a:ext uri="{FF2B5EF4-FFF2-40B4-BE49-F238E27FC236}">
                <a16:creationId xmlns:a16="http://schemas.microsoft.com/office/drawing/2014/main" xmlns="" id="{CB5A3E89-5CBE-4EE2-8046-5B06215B85D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3654737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32" name="Rechteck 22">
            <a:extLst>
              <a:ext uri="{FF2B5EF4-FFF2-40B4-BE49-F238E27FC236}">
                <a16:creationId xmlns:a16="http://schemas.microsoft.com/office/drawing/2014/main" xmlns="" id="{81180E01-F647-438B-975B-2AE7AC7CA8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3654737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33" name="Rechteck 23">
            <a:extLst>
              <a:ext uri="{FF2B5EF4-FFF2-40B4-BE49-F238E27FC236}">
                <a16:creationId xmlns:a16="http://schemas.microsoft.com/office/drawing/2014/main" xmlns="" id="{C7E65A0F-CB8E-406B-9824-07A227EE9CD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3654737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34" name="Rechteck 24">
            <a:extLst>
              <a:ext uri="{FF2B5EF4-FFF2-40B4-BE49-F238E27FC236}">
                <a16:creationId xmlns:a16="http://schemas.microsoft.com/office/drawing/2014/main" xmlns="" id="{3C03562F-0E3A-4EB6-B6E6-C1F4447857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3654737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35" name="Rechteck 25">
            <a:extLst>
              <a:ext uri="{FF2B5EF4-FFF2-40B4-BE49-F238E27FC236}">
                <a16:creationId xmlns:a16="http://schemas.microsoft.com/office/drawing/2014/main" xmlns="" id="{7E86AF4C-7FD7-47CC-B63D-F87B7C67A20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3654737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36" name="Rechteck 26">
            <a:extLst>
              <a:ext uri="{FF2B5EF4-FFF2-40B4-BE49-F238E27FC236}">
                <a16:creationId xmlns:a16="http://schemas.microsoft.com/office/drawing/2014/main" xmlns="" id="{FBA9E839-9F61-41BF-BFD7-61C2F255336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3928365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37" name="Rechteck 1">
            <a:extLst>
              <a:ext uri="{FF2B5EF4-FFF2-40B4-BE49-F238E27FC236}">
                <a16:creationId xmlns:a16="http://schemas.microsoft.com/office/drawing/2014/main" xmlns="" id="{77D5E0DB-9DA1-4174-AACF-C4C221AAAC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3368" y="3928365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38" name="Rechteck 20">
            <a:extLst>
              <a:ext uri="{FF2B5EF4-FFF2-40B4-BE49-F238E27FC236}">
                <a16:creationId xmlns:a16="http://schemas.microsoft.com/office/drawing/2014/main" xmlns="" id="{0744F897-960F-453E-98D3-837DE509E3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3928365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39" name="Rechteck 22">
            <a:extLst>
              <a:ext uri="{FF2B5EF4-FFF2-40B4-BE49-F238E27FC236}">
                <a16:creationId xmlns:a16="http://schemas.microsoft.com/office/drawing/2014/main" xmlns="" id="{71D01E6A-DAB5-4045-AF06-D5675CB0EE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3928365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40" name="Rechteck 23">
            <a:extLst>
              <a:ext uri="{FF2B5EF4-FFF2-40B4-BE49-F238E27FC236}">
                <a16:creationId xmlns:a16="http://schemas.microsoft.com/office/drawing/2014/main" xmlns="" id="{B67AA029-E7DA-47CB-8047-09E8DAF2ABF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3928365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41" name="Rechteck 24">
            <a:extLst>
              <a:ext uri="{FF2B5EF4-FFF2-40B4-BE49-F238E27FC236}">
                <a16:creationId xmlns:a16="http://schemas.microsoft.com/office/drawing/2014/main" xmlns="" id="{98E2790C-10A1-4ACB-8B98-20852CAF5C6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3928365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42" name="Rechteck 25">
            <a:extLst>
              <a:ext uri="{FF2B5EF4-FFF2-40B4-BE49-F238E27FC236}">
                <a16:creationId xmlns:a16="http://schemas.microsoft.com/office/drawing/2014/main" xmlns="" id="{E55736D2-6653-4CA0-85D4-DDD576FB2B2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3928365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43" name="Rechteck 26">
            <a:extLst>
              <a:ext uri="{FF2B5EF4-FFF2-40B4-BE49-F238E27FC236}">
                <a16:creationId xmlns:a16="http://schemas.microsoft.com/office/drawing/2014/main" xmlns="" id="{A647B0E5-71FC-49D7-8EDE-77443E1EE0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420199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44" name="Rechteck 1">
            <a:extLst>
              <a:ext uri="{FF2B5EF4-FFF2-40B4-BE49-F238E27FC236}">
                <a16:creationId xmlns:a16="http://schemas.microsoft.com/office/drawing/2014/main" xmlns="" id="{B531710C-9296-44DD-A812-050120EAF7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3368" y="4201992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45" name="Rechteck 20">
            <a:extLst>
              <a:ext uri="{FF2B5EF4-FFF2-40B4-BE49-F238E27FC236}">
                <a16:creationId xmlns:a16="http://schemas.microsoft.com/office/drawing/2014/main" xmlns="" id="{2A86AE25-858D-4D72-83E5-8E084F16EC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4201992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46" name="Rechteck 22">
            <a:extLst>
              <a:ext uri="{FF2B5EF4-FFF2-40B4-BE49-F238E27FC236}">
                <a16:creationId xmlns:a16="http://schemas.microsoft.com/office/drawing/2014/main" xmlns="" id="{5E3519FE-9F54-4FDA-BD97-B950326F7E0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4201992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47" name="Rechteck 23">
            <a:extLst>
              <a:ext uri="{FF2B5EF4-FFF2-40B4-BE49-F238E27FC236}">
                <a16:creationId xmlns:a16="http://schemas.microsoft.com/office/drawing/2014/main" xmlns="" id="{F08A8E25-EE0B-4ECD-B2A9-5790FF5B48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420199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48" name="Rechteck 24">
            <a:extLst>
              <a:ext uri="{FF2B5EF4-FFF2-40B4-BE49-F238E27FC236}">
                <a16:creationId xmlns:a16="http://schemas.microsoft.com/office/drawing/2014/main" xmlns="" id="{5D7086B3-FB6D-468B-B4F7-3CCD7200F0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420199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49" name="Rechteck 25">
            <a:extLst>
              <a:ext uri="{FF2B5EF4-FFF2-40B4-BE49-F238E27FC236}">
                <a16:creationId xmlns:a16="http://schemas.microsoft.com/office/drawing/2014/main" xmlns="" id="{0713D18A-4295-4FB8-BF3E-AB148746D3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420199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50" name="Rechteck 26">
            <a:extLst>
              <a:ext uri="{FF2B5EF4-FFF2-40B4-BE49-F238E27FC236}">
                <a16:creationId xmlns:a16="http://schemas.microsoft.com/office/drawing/2014/main" xmlns="" id="{5F26FF40-9851-42CF-875E-9B31D4B8AFB9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4475621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51" name="Rechteck 20">
            <a:extLst>
              <a:ext uri="{FF2B5EF4-FFF2-40B4-BE49-F238E27FC236}">
                <a16:creationId xmlns:a16="http://schemas.microsoft.com/office/drawing/2014/main" xmlns="" id="{0F1D4B0F-CFBC-40B8-89B7-2D1A1A4261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4475621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52" name="Rechteck 22">
            <a:extLst>
              <a:ext uri="{FF2B5EF4-FFF2-40B4-BE49-F238E27FC236}">
                <a16:creationId xmlns:a16="http://schemas.microsoft.com/office/drawing/2014/main" xmlns="" id="{BC96B253-242A-4355-B091-98800F633C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4475621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53" name="Rechteck 23">
            <a:extLst>
              <a:ext uri="{FF2B5EF4-FFF2-40B4-BE49-F238E27FC236}">
                <a16:creationId xmlns:a16="http://schemas.microsoft.com/office/drawing/2014/main" xmlns="" id="{33928BB7-BE98-4D19-A6D3-3C95ACB6464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4475621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54" name="Rechteck 24">
            <a:extLst>
              <a:ext uri="{FF2B5EF4-FFF2-40B4-BE49-F238E27FC236}">
                <a16:creationId xmlns:a16="http://schemas.microsoft.com/office/drawing/2014/main" xmlns="" id="{69483FF7-2445-46CE-A22E-1C453DA33C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4475621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55" name="Rechteck 25">
            <a:extLst>
              <a:ext uri="{FF2B5EF4-FFF2-40B4-BE49-F238E27FC236}">
                <a16:creationId xmlns:a16="http://schemas.microsoft.com/office/drawing/2014/main" xmlns="" id="{A0F2D1A0-5EF4-46EC-AA5C-5C9AEDBB45A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4475621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56" name="Rechteck 26">
            <a:extLst>
              <a:ext uri="{FF2B5EF4-FFF2-40B4-BE49-F238E27FC236}">
                <a16:creationId xmlns:a16="http://schemas.microsoft.com/office/drawing/2014/main" xmlns="" id="{C598A63D-9D6E-499B-B966-D74D9841E7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4748077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57" name="Rechteck 20">
            <a:extLst>
              <a:ext uri="{FF2B5EF4-FFF2-40B4-BE49-F238E27FC236}">
                <a16:creationId xmlns:a16="http://schemas.microsoft.com/office/drawing/2014/main" xmlns="" id="{F3A611BC-8EF5-4191-9011-AD0CAA72B5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4748077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58" name="Rechteck 22">
            <a:extLst>
              <a:ext uri="{FF2B5EF4-FFF2-40B4-BE49-F238E27FC236}">
                <a16:creationId xmlns:a16="http://schemas.microsoft.com/office/drawing/2014/main" xmlns="" id="{A8DD7573-D798-49A8-93CB-7EDA56DDCA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4748077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59" name="Rechteck 23">
            <a:extLst>
              <a:ext uri="{FF2B5EF4-FFF2-40B4-BE49-F238E27FC236}">
                <a16:creationId xmlns:a16="http://schemas.microsoft.com/office/drawing/2014/main" xmlns="" id="{49AC54F5-C409-46C3-9898-412AF8FC470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4748077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60" name="Rechteck 24">
            <a:extLst>
              <a:ext uri="{FF2B5EF4-FFF2-40B4-BE49-F238E27FC236}">
                <a16:creationId xmlns:a16="http://schemas.microsoft.com/office/drawing/2014/main" xmlns="" id="{88D996F2-AE30-4098-85EE-EBED7C8933A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4748077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61" name="Rechteck 25">
            <a:extLst>
              <a:ext uri="{FF2B5EF4-FFF2-40B4-BE49-F238E27FC236}">
                <a16:creationId xmlns:a16="http://schemas.microsoft.com/office/drawing/2014/main" xmlns="" id="{F649D52A-0932-4917-BA37-59F4F48CB0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4748077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62" name="Rechteck 26">
            <a:extLst>
              <a:ext uri="{FF2B5EF4-FFF2-40B4-BE49-F238E27FC236}">
                <a16:creationId xmlns:a16="http://schemas.microsoft.com/office/drawing/2014/main" xmlns="" id="{78A38CE7-F8E8-4480-A018-35AA270347C8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5020536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63" name="Rechteck 1">
            <a:extLst>
              <a:ext uri="{FF2B5EF4-FFF2-40B4-BE49-F238E27FC236}">
                <a16:creationId xmlns:a16="http://schemas.microsoft.com/office/drawing/2014/main" xmlns="" id="{B231EBC7-4F44-4F79-A0D1-D37CDE6F2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3368" y="5020536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64" name="Rechteck 20">
            <a:extLst>
              <a:ext uri="{FF2B5EF4-FFF2-40B4-BE49-F238E27FC236}">
                <a16:creationId xmlns:a16="http://schemas.microsoft.com/office/drawing/2014/main" xmlns="" id="{93ABFEE5-4697-40E8-93A6-B2CD404535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5020536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65" name="Rechteck 22">
            <a:extLst>
              <a:ext uri="{FF2B5EF4-FFF2-40B4-BE49-F238E27FC236}">
                <a16:creationId xmlns:a16="http://schemas.microsoft.com/office/drawing/2014/main" xmlns="" id="{9145F96A-D006-4BDA-BA69-4A4DB9FE3C7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5020536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66" name="Rechteck 23">
            <a:extLst>
              <a:ext uri="{FF2B5EF4-FFF2-40B4-BE49-F238E27FC236}">
                <a16:creationId xmlns:a16="http://schemas.microsoft.com/office/drawing/2014/main" xmlns="" id="{5B017ED8-E525-40B8-8764-04E5CAC556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5020536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67" name="Rechteck 24">
            <a:extLst>
              <a:ext uri="{FF2B5EF4-FFF2-40B4-BE49-F238E27FC236}">
                <a16:creationId xmlns:a16="http://schemas.microsoft.com/office/drawing/2014/main" xmlns="" id="{41136500-3A55-4C6A-8E27-58EB8992BE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5020536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68" name="Rechteck 25">
            <a:extLst>
              <a:ext uri="{FF2B5EF4-FFF2-40B4-BE49-F238E27FC236}">
                <a16:creationId xmlns:a16="http://schemas.microsoft.com/office/drawing/2014/main" xmlns="" id="{0F22F74C-E04D-4B08-9C36-662E188D12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5020536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69" name="Rechteck 26">
            <a:extLst>
              <a:ext uri="{FF2B5EF4-FFF2-40B4-BE49-F238E27FC236}">
                <a16:creationId xmlns:a16="http://schemas.microsoft.com/office/drawing/2014/main" xmlns="" id="{2A0651F4-B5EC-42D9-A731-9729DB2B8DD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5294162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  <p:sp>
        <p:nvSpPr>
          <p:cNvPr id="1170" name="Rechteck 1">
            <a:extLst>
              <a:ext uri="{FF2B5EF4-FFF2-40B4-BE49-F238E27FC236}">
                <a16:creationId xmlns:a16="http://schemas.microsoft.com/office/drawing/2014/main" xmlns="" id="{39E61A7B-AC3E-4151-AD4F-6AE7BA08A47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3368" y="5294162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71" name="Rechteck 20">
            <a:extLst>
              <a:ext uri="{FF2B5EF4-FFF2-40B4-BE49-F238E27FC236}">
                <a16:creationId xmlns:a16="http://schemas.microsoft.com/office/drawing/2014/main" xmlns="" id="{9D97E33A-62A1-46F0-BA26-7CE38C8D0A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5294162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72" name="Rechteck 22">
            <a:extLst>
              <a:ext uri="{FF2B5EF4-FFF2-40B4-BE49-F238E27FC236}">
                <a16:creationId xmlns:a16="http://schemas.microsoft.com/office/drawing/2014/main" xmlns="" id="{CCDA3545-5DE1-47AE-8BDA-FED53C8951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5294162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73" name="Rechteck 23">
            <a:extLst>
              <a:ext uri="{FF2B5EF4-FFF2-40B4-BE49-F238E27FC236}">
                <a16:creationId xmlns:a16="http://schemas.microsoft.com/office/drawing/2014/main" xmlns="" id="{4672529A-11CC-4D59-AB80-E6CF150A798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5294162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74" name="Rechteck 24">
            <a:extLst>
              <a:ext uri="{FF2B5EF4-FFF2-40B4-BE49-F238E27FC236}">
                <a16:creationId xmlns:a16="http://schemas.microsoft.com/office/drawing/2014/main" xmlns="" id="{76067AE7-A8ED-4C24-AB91-AED762F7E3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5294162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75" name="Rechteck 25">
            <a:extLst>
              <a:ext uri="{FF2B5EF4-FFF2-40B4-BE49-F238E27FC236}">
                <a16:creationId xmlns:a16="http://schemas.microsoft.com/office/drawing/2014/main" xmlns="" id="{8AC06154-1B9F-42F3-9E4B-39056BEF4AC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5294162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76" name="Rechteck 1">
            <a:extLst>
              <a:ext uri="{FF2B5EF4-FFF2-40B4-BE49-F238E27FC236}">
                <a16:creationId xmlns:a16="http://schemas.microsoft.com/office/drawing/2014/main" xmlns="" id="{BCC81259-0B3F-457F-9367-8C8AE69334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3368" y="5567791"/>
            <a:ext cx="102677" cy="142817"/>
          </a:xfrm>
          <a:prstGeom prst="rect">
            <a:avLst/>
          </a:prstGeom>
          <a:solidFill>
            <a:srgbClr val="77787B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77" name="Rechteck 20">
            <a:extLst>
              <a:ext uri="{FF2B5EF4-FFF2-40B4-BE49-F238E27FC236}">
                <a16:creationId xmlns:a16="http://schemas.microsoft.com/office/drawing/2014/main" xmlns="" id="{061C0C86-F0C5-45E7-B938-431D5B8FFF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59315" y="5567791"/>
            <a:ext cx="104416" cy="142817"/>
          </a:xfrm>
          <a:prstGeom prst="rect">
            <a:avLst/>
          </a:prstGeom>
          <a:solidFill>
            <a:srgbClr val="C6C8CA"/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78" name="Rechteck 22">
            <a:extLst>
              <a:ext uri="{FF2B5EF4-FFF2-40B4-BE49-F238E27FC236}">
                <a16:creationId xmlns:a16="http://schemas.microsoft.com/office/drawing/2014/main" xmlns="" id="{1BF392F0-3D9C-4586-8D34-917E5F89B1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77001" y="5567791"/>
            <a:ext cx="104416" cy="14281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79" name="Rechteck 23">
            <a:extLst>
              <a:ext uri="{FF2B5EF4-FFF2-40B4-BE49-F238E27FC236}">
                <a16:creationId xmlns:a16="http://schemas.microsoft.com/office/drawing/2014/main" xmlns="" id="{82FA6B81-380E-4AD9-9BDD-013341C662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94688" y="5567791"/>
            <a:ext cx="102677" cy="142817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defTabSz="914400"/>
            <a:endParaRPr lang="en-US" altLang="de-DE" sz="1900" kern="0" dirty="0">
              <a:solidFill>
                <a:srgbClr val="000000"/>
              </a:solidFill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80" name="Rechteck 24">
            <a:extLst>
              <a:ext uri="{FF2B5EF4-FFF2-40B4-BE49-F238E27FC236}">
                <a16:creationId xmlns:a16="http://schemas.microsoft.com/office/drawing/2014/main" xmlns="" id="{0D9387DA-1A00-46B0-A270-EBCC103A91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0635" y="5567791"/>
            <a:ext cx="104416" cy="142817"/>
          </a:xfrm>
          <a:prstGeom prst="rect">
            <a:avLst/>
          </a:prstGeom>
          <a:solidFill>
            <a:srgbClr val="B3E900">
              <a:lumMod val="20000"/>
              <a:lumOff val="8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81" name="Rechteck 25">
            <a:extLst>
              <a:ext uri="{FF2B5EF4-FFF2-40B4-BE49-F238E27FC236}">
                <a16:creationId xmlns:a16="http://schemas.microsoft.com/office/drawing/2014/main" xmlns="" id="{097FF99D-B385-4CF4-84B3-18388E150C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928321" y="5567791"/>
            <a:ext cx="104416" cy="142817"/>
          </a:xfrm>
          <a:prstGeom prst="rect">
            <a:avLst/>
          </a:prstGeom>
          <a:solidFill>
            <a:srgbClr val="B3E900">
              <a:lumMod val="40000"/>
              <a:lumOff val="60000"/>
            </a:srgbClr>
          </a:solidFill>
          <a:ln>
            <a:noFill/>
          </a:ln>
          <a:extLst/>
        </p:spPr>
        <p:txBody>
          <a:bodyPr lIns="91422" tIns="45718" rIns="91422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</a:endParaRPr>
          </a:p>
        </p:txBody>
      </p:sp>
      <p:sp>
        <p:nvSpPr>
          <p:cNvPr id="1182" name="Rechteck 26">
            <a:extLst>
              <a:ext uri="{FF2B5EF4-FFF2-40B4-BE49-F238E27FC236}">
                <a16:creationId xmlns:a16="http://schemas.microsoft.com/office/drawing/2014/main" xmlns="" id="{123DA717-CF28-4BEA-A741-484B90DE6EF6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46004" y="5567791"/>
            <a:ext cx="102677" cy="142817"/>
          </a:xfrm>
          <a:prstGeom prst="rect">
            <a:avLst/>
          </a:prstGeom>
          <a:solidFill>
            <a:srgbClr val="B3E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charset="0"/>
                <a:ea typeface="ヒラギノ角ゴ ProN W3" pitchFamily="-107" charset="-128"/>
                <a:sym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de-DE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N W3" pitchFamily="-107" charset="-128"/>
              <a:cs typeface="Arial" panose="020B0604020202020204" pitchFamily="34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4640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6095206" y="1449388"/>
            <a:ext cx="6095208" cy="4693961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arison of State – Today Vs. Tomorrow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7" name="Diagramm 5"/>
          <p:cNvGraphicFramePr/>
          <p:nvPr>
            <p:extLst>
              <p:ext uri="{D42A27DB-BD31-4B8C-83A1-F6EECF244321}">
                <p14:modId xmlns:p14="http://schemas.microsoft.com/office/powerpoint/2010/main" val="2730106498"/>
              </p:ext>
            </p:extLst>
          </p:nvPr>
        </p:nvGraphicFramePr>
        <p:xfrm>
          <a:off x="369237" y="1755913"/>
          <a:ext cx="5545788" cy="2020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Diagramm 19"/>
          <p:cNvGraphicFramePr/>
          <p:nvPr>
            <p:extLst>
              <p:ext uri="{D42A27DB-BD31-4B8C-83A1-F6EECF244321}">
                <p14:modId xmlns:p14="http://schemas.microsoft.com/office/powerpoint/2010/main" val="3199135246"/>
              </p:ext>
            </p:extLst>
          </p:nvPr>
        </p:nvGraphicFramePr>
        <p:xfrm>
          <a:off x="369237" y="4128170"/>
          <a:ext cx="5545788" cy="2020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69237" y="3792065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Tomorrow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69237" y="1449388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Today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529027" y="2087972"/>
            <a:ext cx="5072783" cy="3416793"/>
            <a:chOff x="6275388" y="2639842"/>
            <a:chExt cx="5580061" cy="3416793"/>
          </a:xfrm>
        </p:grpSpPr>
        <p:sp>
          <p:nvSpPr>
            <p:cNvPr id="12" name="TextBox 11"/>
            <p:cNvSpPr txBox="1"/>
            <p:nvPr/>
          </p:nvSpPr>
          <p:spPr>
            <a:xfrm>
              <a:off x="6275388" y="2639842"/>
              <a:ext cx="5580061" cy="344128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DESCRIPTION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275388" y="3118944"/>
              <a:ext cx="5580061" cy="1021237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move and replace this text with any details related to your project, feel free to change the title. </a:t>
              </a:r>
            </a:p>
            <a:p>
              <a:pPr>
                <a:buClr>
                  <a:schemeClr val="accent2"/>
                </a:buClr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replacing the placeholder text you need to click on the placeholder text and insert your own text.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275388" y="4396762"/>
              <a:ext cx="5580061" cy="1659873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marL="285750" indent="-285750">
                <a:spcAft>
                  <a:spcPts val="300"/>
                </a:spcAft>
                <a:buClr>
                  <a:schemeClr val="accent2"/>
                </a:buClr>
                <a:buFont typeface="Wingdings 3" panose="05040102010807070707" pitchFamily="18" charset="2"/>
                <a:buChar char="}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e text demonstrates how your own text will look </a:t>
              </a:r>
              <a:b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hen you replace the placeholder with your own text.</a:t>
              </a:r>
            </a:p>
            <a:p>
              <a:pPr marL="285750" indent="-285750">
                <a:spcAft>
                  <a:spcPts val="300"/>
                </a:spcAft>
                <a:buClr>
                  <a:schemeClr val="accent2"/>
                </a:buClr>
                <a:buFont typeface="Wingdings 3" panose="05040102010807070707" pitchFamily="18" charset="2"/>
                <a:buChar char="}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.</a:t>
              </a:r>
            </a:p>
            <a:p>
              <a:pPr marL="285750" indent="-285750">
                <a:spcAft>
                  <a:spcPts val="300"/>
                </a:spcAft>
                <a:buClr>
                  <a:schemeClr val="accent2"/>
                </a:buClr>
                <a:buFont typeface="Wingdings 3" panose="05040102010807070707" pitchFamily="18" charset="2"/>
                <a:buChar char="}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e text demonstrates how your own text will look </a:t>
              </a:r>
              <a:b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hen you replace the placeholder with your own text.</a:t>
              </a:r>
            </a:p>
            <a:p>
              <a:pPr marL="285750" indent="-285750">
                <a:spcAft>
                  <a:spcPts val="300"/>
                </a:spcAft>
                <a:buClr>
                  <a:schemeClr val="accent2"/>
                </a:buClr>
                <a:buFont typeface="Wingdings 3" panose="05040102010807070707" pitchFamily="18" charset="2"/>
                <a:buChar char="}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35264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udget Tab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4</a:t>
            </a:fld>
            <a:endParaRPr lang="en-US" dirty="0"/>
          </a:p>
        </p:txBody>
      </p:sp>
      <p:graphicFrame>
        <p:nvGraphicFramePr>
          <p:cNvPr id="8" name="Group 3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448634"/>
              </p:ext>
            </p:extLst>
          </p:nvPr>
        </p:nvGraphicFramePr>
        <p:xfrm>
          <a:off x="334961" y="1449388"/>
          <a:ext cx="11520488" cy="4939780"/>
        </p:xfrm>
        <a:graphic>
          <a:graphicData uri="http://schemas.openxmlformats.org/drawingml/2006/table">
            <a:tbl>
              <a:tblPr/>
              <a:tblGrid>
                <a:gridCol w="24410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324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132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1324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1324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51324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51324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53831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200" b="1" cap="all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itle</a:t>
                      </a:r>
                      <a:endParaRPr lang="en-GB" sz="1400" b="1" cap="all" baseline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1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all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TAGE 1</a:t>
                      </a:r>
                      <a:endParaRPr kumimoji="0" lang="en-GB" sz="1400" b="1" i="0" u="none" strike="noStrike" cap="all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1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all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TAGE 2</a:t>
                      </a:r>
                    </a:p>
                  </a:txBody>
                  <a:tcPr marL="21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all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TAGE 3</a:t>
                      </a:r>
                      <a:endParaRPr kumimoji="0" lang="en-GB" sz="1400" b="1" i="0" u="none" strike="noStrike" cap="all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1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all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TAGE 3</a:t>
                      </a:r>
                      <a:endParaRPr kumimoji="0" lang="en-GB" sz="1400" b="1" i="0" u="none" strike="noStrike" cap="all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1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all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TAGE 4</a:t>
                      </a:r>
                      <a:endParaRPr kumimoji="0" lang="en-GB" sz="1400" b="1" i="0" u="none" strike="noStrike" cap="all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1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all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TAGE 5</a:t>
                      </a:r>
                      <a:endParaRPr kumimoji="0" lang="en-GB" sz="1400" b="1" i="0" u="none" strike="noStrike" cap="all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1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489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illion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87B5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illion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87B5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illion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87B5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illion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87B5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illion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87B5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illion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3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st Item 1</a:t>
                      </a: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23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st Item 2</a:t>
                      </a: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23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st Item 3</a:t>
                      </a: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23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st Item 4</a:t>
                      </a: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23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st Item 5</a:t>
                      </a: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23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st Item 6</a:t>
                      </a: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23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st Item 7</a:t>
                      </a: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23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st Item 8</a:t>
                      </a: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2365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st Item</a:t>
                      </a: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XX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23645">
                <a:tc gridSpan="4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000" b="1" noProof="0" dirty="0">
                          <a:solidFill>
                            <a:schemeClr val="accent1"/>
                          </a:solidFill>
                          <a:latin typeface="+mn-lt"/>
                          <a:cs typeface="Arial" charset="0"/>
                        </a:rPr>
                        <a:t>* Sample</a:t>
                      </a:r>
                      <a:r>
                        <a:rPr lang="en-GB" altLang="de-DE" sz="1000" b="1" baseline="0" noProof="0" dirty="0">
                          <a:solidFill>
                            <a:schemeClr val="accent1"/>
                          </a:solidFill>
                          <a:latin typeface="+mn-lt"/>
                          <a:cs typeface="Arial" charset="0"/>
                        </a:rPr>
                        <a:t>  footnote</a:t>
                      </a:r>
                      <a:endParaRPr lang="en-GB" sz="1000" b="1" noProof="0" dirty="0">
                        <a:solidFill>
                          <a:schemeClr val="accent1"/>
                        </a:solidFill>
                        <a:latin typeface="+mn-lt"/>
                        <a:cs typeface="Arial" charset="0"/>
                      </a:endParaRPr>
                    </a:p>
                  </a:txBody>
                  <a:tcPr marL="36000" marR="36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90000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90000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9E3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endParaRPr kumimoji="0" lang="de-DE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90000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de-DE" sz="1000" b="1" noProof="0" dirty="0">
                          <a:solidFill>
                            <a:schemeClr val="accent1"/>
                          </a:solidFill>
                          <a:latin typeface="+mn-lt"/>
                          <a:cs typeface="Arial" charset="0"/>
                        </a:rPr>
                        <a:t>Sample footnote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90000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9E3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endParaRPr kumimoji="0" lang="de-DE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90000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42697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Gantt </a:t>
            </a:r>
            <a:r>
              <a:rPr lang="en-US" dirty="0" err="1"/>
              <a:t>CHar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5</a:t>
            </a:fld>
            <a:endParaRPr lang="en-US" dirty="0"/>
          </a:p>
        </p:txBody>
      </p:sp>
      <p:graphicFrame>
        <p:nvGraphicFramePr>
          <p:cNvPr id="7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9334244"/>
              </p:ext>
            </p:extLst>
          </p:nvPr>
        </p:nvGraphicFramePr>
        <p:xfrm>
          <a:off x="334962" y="1407305"/>
          <a:ext cx="11520482" cy="42417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8013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80993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559550">
                <a:tc>
                  <a:txBody>
                    <a:bodyPr/>
                    <a:lstStyle/>
                    <a:p>
                      <a:pPr algn="l"/>
                      <a:endParaRPr lang="en-GB" sz="1400" b="1" cap="all" baseline="0" noProof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Jan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Feb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Apr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May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June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July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Aug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Sep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Oct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Nov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Dec</a:t>
                      </a:r>
                    </a:p>
                  </a:txBody>
                  <a:tcPr marL="84421" marR="0" marT="0" marB="45847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8220">
                <a:tc>
                  <a:txBody>
                    <a:bodyPr/>
                    <a:lstStyle/>
                    <a:p>
                      <a:pPr algn="l"/>
                      <a:r>
                        <a:rPr lang="en-GB" sz="1200" noProof="0" dirty="0">
                          <a:solidFill>
                            <a:schemeClr val="accent1"/>
                          </a:solidFill>
                          <a:latin typeface="+mn-lt"/>
                          <a:cs typeface="Arial" panose="020B0604020202020204" pitchFamily="34" charset="0"/>
                        </a:rPr>
                        <a:t>Activity or Task</a:t>
                      </a:r>
                    </a:p>
                  </a:txBody>
                  <a:tcPr marL="84421" marR="0" marT="0" marB="45847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8220">
                <a:tc>
                  <a:txBody>
                    <a:bodyPr/>
                    <a:lstStyle/>
                    <a:p>
                      <a:pPr algn="l"/>
                      <a:r>
                        <a:rPr lang="en-GB" sz="1200" noProof="0" dirty="0">
                          <a:solidFill>
                            <a:schemeClr val="accent1"/>
                          </a:solidFill>
                          <a:latin typeface="+mn-lt"/>
                          <a:cs typeface="Arial" panose="020B0604020202020204" pitchFamily="34" charset="0"/>
                        </a:rPr>
                        <a:t>Activity or Task</a:t>
                      </a:r>
                    </a:p>
                  </a:txBody>
                  <a:tcPr marL="84421" marR="0" marT="0" marB="45847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8220">
                <a:tc>
                  <a:txBody>
                    <a:bodyPr/>
                    <a:lstStyle/>
                    <a:p>
                      <a:pPr algn="l"/>
                      <a:r>
                        <a:rPr lang="en-GB" sz="1200" noProof="0">
                          <a:solidFill>
                            <a:schemeClr val="accent1"/>
                          </a:solidFill>
                          <a:latin typeface="+mn-lt"/>
                          <a:cs typeface="Arial" panose="020B0604020202020204" pitchFamily="34" charset="0"/>
                        </a:rPr>
                        <a:t>Activity or Task</a:t>
                      </a:r>
                      <a:endParaRPr lang="en-GB" sz="1200" noProof="0" dirty="0"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421" marR="0" marT="0" marB="45847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8220">
                <a:tc>
                  <a:txBody>
                    <a:bodyPr/>
                    <a:lstStyle/>
                    <a:p>
                      <a:pPr algn="l"/>
                      <a:r>
                        <a:rPr lang="en-GB" sz="1200" noProof="0" dirty="0">
                          <a:solidFill>
                            <a:schemeClr val="accent1"/>
                          </a:solidFill>
                          <a:latin typeface="+mn-lt"/>
                          <a:cs typeface="Arial" panose="020B0604020202020204" pitchFamily="34" charset="0"/>
                        </a:rPr>
                        <a:t>Activity or Task</a:t>
                      </a:r>
                    </a:p>
                  </a:txBody>
                  <a:tcPr marL="84421" marR="0" marT="0" marB="45847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8220">
                <a:tc>
                  <a:txBody>
                    <a:bodyPr/>
                    <a:lstStyle/>
                    <a:p>
                      <a:pPr algn="l"/>
                      <a:r>
                        <a:rPr lang="en-GB" sz="1200" noProof="0">
                          <a:solidFill>
                            <a:schemeClr val="accent1"/>
                          </a:solidFill>
                          <a:latin typeface="+mn-lt"/>
                          <a:cs typeface="Arial" panose="020B0604020202020204" pitchFamily="34" charset="0"/>
                        </a:rPr>
                        <a:t>Activity or Task</a:t>
                      </a:r>
                      <a:endParaRPr lang="en-GB" sz="1200" noProof="0" dirty="0"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421" marR="0" marT="0" marB="45847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8220">
                <a:tc>
                  <a:txBody>
                    <a:bodyPr/>
                    <a:lstStyle/>
                    <a:p>
                      <a:pPr algn="l"/>
                      <a:r>
                        <a:rPr lang="en-GB" sz="1200" noProof="0">
                          <a:solidFill>
                            <a:schemeClr val="accent1"/>
                          </a:solidFill>
                          <a:latin typeface="+mn-lt"/>
                          <a:cs typeface="Arial" panose="020B0604020202020204" pitchFamily="34" charset="0"/>
                        </a:rPr>
                        <a:t>Activity or Task</a:t>
                      </a:r>
                      <a:endParaRPr lang="en-GB" sz="1200" noProof="0" dirty="0"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421" marR="0" marT="0" marB="45847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8220">
                <a:tc>
                  <a:txBody>
                    <a:bodyPr/>
                    <a:lstStyle/>
                    <a:p>
                      <a:pPr algn="l"/>
                      <a:r>
                        <a:rPr lang="en-GB" sz="1200" noProof="0">
                          <a:solidFill>
                            <a:schemeClr val="accent1"/>
                          </a:solidFill>
                          <a:latin typeface="+mn-lt"/>
                          <a:cs typeface="Arial" panose="020B0604020202020204" pitchFamily="34" charset="0"/>
                        </a:rPr>
                        <a:t>Activity or Task</a:t>
                      </a:r>
                      <a:endParaRPr lang="en-GB" sz="1200" noProof="0" dirty="0"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421" marR="0" marT="0" marB="45847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68220">
                <a:tc>
                  <a:txBody>
                    <a:bodyPr/>
                    <a:lstStyle/>
                    <a:p>
                      <a:pPr algn="l"/>
                      <a:r>
                        <a:rPr lang="en-GB" sz="1200" noProof="0">
                          <a:solidFill>
                            <a:schemeClr val="accent1"/>
                          </a:solidFill>
                          <a:latin typeface="+mn-lt"/>
                          <a:cs typeface="Arial" panose="020B0604020202020204" pitchFamily="34" charset="0"/>
                        </a:rPr>
                        <a:t>Activity or Task</a:t>
                      </a:r>
                      <a:endParaRPr lang="en-GB" sz="1200" noProof="0" dirty="0"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421" marR="0" marT="0" marB="45847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68220">
                <a:tc>
                  <a:txBody>
                    <a:bodyPr/>
                    <a:lstStyle/>
                    <a:p>
                      <a:pPr algn="l"/>
                      <a:r>
                        <a:rPr lang="en-GB" sz="1200" noProof="0">
                          <a:solidFill>
                            <a:schemeClr val="accent1"/>
                          </a:solidFill>
                          <a:latin typeface="+mn-lt"/>
                          <a:cs typeface="Arial" panose="020B0604020202020204" pitchFamily="34" charset="0"/>
                        </a:rPr>
                        <a:t>Activity or Task</a:t>
                      </a:r>
                      <a:endParaRPr lang="en-GB" sz="1200" noProof="0" dirty="0"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84421" marR="0" marT="0" marB="45847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68220">
                <a:tc>
                  <a:txBody>
                    <a:bodyPr/>
                    <a:lstStyle/>
                    <a:p>
                      <a:pPr algn="l"/>
                      <a:r>
                        <a:rPr lang="en-GB" sz="1200" noProof="0" dirty="0">
                          <a:solidFill>
                            <a:schemeClr val="accent1"/>
                          </a:solidFill>
                          <a:latin typeface="+mn-lt"/>
                          <a:cs typeface="Arial" panose="020B0604020202020204" pitchFamily="34" charset="0"/>
                        </a:rPr>
                        <a:t>Activity or Task</a:t>
                      </a:r>
                    </a:p>
                  </a:txBody>
                  <a:tcPr marL="84421" marR="0" marT="0" marB="45847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noProof="0" dirty="0">
                        <a:ln w="3175"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6473" marR="0" marT="0" marB="36100" anchor="b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cxnSp>
        <p:nvCxnSpPr>
          <p:cNvPr id="8" name="Gerade Verbindung 70"/>
          <p:cNvCxnSpPr/>
          <p:nvPr/>
        </p:nvCxnSpPr>
        <p:spPr bwMode="gray">
          <a:xfrm>
            <a:off x="6152977" y="3262341"/>
            <a:ext cx="691688" cy="0"/>
          </a:xfrm>
          <a:prstGeom prst="line">
            <a:avLst/>
          </a:prstGeom>
          <a:ln w="28575"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70"/>
          <p:cNvCxnSpPr/>
          <p:nvPr/>
        </p:nvCxnSpPr>
        <p:spPr bwMode="gray">
          <a:xfrm>
            <a:off x="3401949" y="2893163"/>
            <a:ext cx="2642479" cy="1169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70"/>
          <p:cNvCxnSpPr/>
          <p:nvPr/>
        </p:nvCxnSpPr>
        <p:spPr bwMode="gray">
          <a:xfrm>
            <a:off x="3401949" y="2523987"/>
            <a:ext cx="2642479" cy="1169"/>
          </a:xfrm>
          <a:prstGeom prst="line">
            <a:avLst/>
          </a:prstGeom>
          <a:ln w="19050">
            <a:solidFill>
              <a:srgbClr val="21C0FF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70"/>
          <p:cNvCxnSpPr/>
          <p:nvPr/>
        </p:nvCxnSpPr>
        <p:spPr bwMode="gray">
          <a:xfrm>
            <a:off x="3401949" y="2154808"/>
            <a:ext cx="2642479" cy="1169"/>
          </a:xfrm>
          <a:prstGeom prst="line">
            <a:avLst/>
          </a:prstGeom>
          <a:ln w="19050"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70"/>
          <p:cNvCxnSpPr/>
          <p:nvPr/>
        </p:nvCxnSpPr>
        <p:spPr bwMode="gray">
          <a:xfrm flipV="1">
            <a:off x="3401949" y="3630350"/>
            <a:ext cx="3442717" cy="3030"/>
          </a:xfrm>
          <a:prstGeom prst="line">
            <a:avLst/>
          </a:prstGeom>
          <a:ln w="19050"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70"/>
          <p:cNvCxnSpPr/>
          <p:nvPr/>
        </p:nvCxnSpPr>
        <p:spPr bwMode="gray">
          <a:xfrm>
            <a:off x="7083601" y="5105413"/>
            <a:ext cx="347345" cy="0"/>
          </a:xfrm>
          <a:prstGeom prst="line">
            <a:avLst/>
          </a:prstGeom>
          <a:ln w="19050">
            <a:solidFill>
              <a:srgbClr val="21C0FF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70"/>
          <p:cNvCxnSpPr/>
          <p:nvPr/>
        </p:nvCxnSpPr>
        <p:spPr bwMode="gray">
          <a:xfrm>
            <a:off x="7083599" y="4001388"/>
            <a:ext cx="200806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70"/>
          <p:cNvCxnSpPr/>
          <p:nvPr/>
        </p:nvCxnSpPr>
        <p:spPr bwMode="gray">
          <a:xfrm flipV="1">
            <a:off x="7083600" y="4369397"/>
            <a:ext cx="828151" cy="0"/>
          </a:xfrm>
          <a:prstGeom prst="line">
            <a:avLst/>
          </a:prstGeom>
          <a:ln w="19050">
            <a:solidFill>
              <a:srgbClr val="21C0FF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70"/>
          <p:cNvCxnSpPr/>
          <p:nvPr/>
        </p:nvCxnSpPr>
        <p:spPr bwMode="gray">
          <a:xfrm flipV="1">
            <a:off x="7485896" y="4737405"/>
            <a:ext cx="828151" cy="0"/>
          </a:xfrm>
          <a:prstGeom prst="line">
            <a:avLst/>
          </a:prstGeom>
          <a:ln w="1905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70"/>
          <p:cNvCxnSpPr/>
          <p:nvPr/>
        </p:nvCxnSpPr>
        <p:spPr bwMode="gray">
          <a:xfrm>
            <a:off x="7948328" y="5473422"/>
            <a:ext cx="347345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94"/>
          <p:cNvSpPr>
            <a:spLocks noChangeArrowheads="1"/>
          </p:cNvSpPr>
          <p:nvPr/>
        </p:nvSpPr>
        <p:spPr bwMode="gray">
          <a:xfrm>
            <a:off x="625790" y="5930510"/>
            <a:ext cx="118800" cy="119202"/>
          </a:xfrm>
          <a:prstGeom prst="ellipse">
            <a:avLst/>
          </a:prstGeom>
          <a:solidFill>
            <a:srgbClr val="21C0FF"/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19" name="Text Box 403"/>
          <p:cNvSpPr txBox="1">
            <a:spLocks noChangeArrowheads="1"/>
          </p:cNvSpPr>
          <p:nvPr/>
        </p:nvSpPr>
        <p:spPr bwMode="gray">
          <a:xfrm>
            <a:off x="821225" y="5849020"/>
            <a:ext cx="723004" cy="277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accent1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0" name="Rectangle 394"/>
          <p:cNvSpPr>
            <a:spLocks noChangeArrowheads="1"/>
          </p:cNvSpPr>
          <p:nvPr/>
        </p:nvSpPr>
        <p:spPr bwMode="gray">
          <a:xfrm>
            <a:off x="1883970" y="5930510"/>
            <a:ext cx="118800" cy="119202"/>
          </a:xfrm>
          <a:prstGeom prst="ellipse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21" name="Text Box 403"/>
          <p:cNvSpPr txBox="1">
            <a:spLocks noChangeArrowheads="1"/>
          </p:cNvSpPr>
          <p:nvPr/>
        </p:nvSpPr>
        <p:spPr bwMode="gray">
          <a:xfrm>
            <a:off x="2079407" y="5849020"/>
            <a:ext cx="723004" cy="277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accent1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2" name="Rectangle 394"/>
          <p:cNvSpPr>
            <a:spLocks noChangeArrowheads="1"/>
          </p:cNvSpPr>
          <p:nvPr/>
        </p:nvSpPr>
        <p:spPr bwMode="gray">
          <a:xfrm>
            <a:off x="3173179" y="5930510"/>
            <a:ext cx="118800" cy="119202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23" name="Text Box 403"/>
          <p:cNvSpPr txBox="1">
            <a:spLocks noChangeArrowheads="1"/>
          </p:cNvSpPr>
          <p:nvPr/>
        </p:nvSpPr>
        <p:spPr bwMode="gray">
          <a:xfrm>
            <a:off x="3368614" y="5849020"/>
            <a:ext cx="723004" cy="277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accent1"/>
                </a:solidFill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4" name="Rectangle 400"/>
          <p:cNvSpPr>
            <a:spLocks noChangeArrowheads="1"/>
          </p:cNvSpPr>
          <p:nvPr/>
        </p:nvSpPr>
        <p:spPr bwMode="gray">
          <a:xfrm>
            <a:off x="6110415" y="6034918"/>
            <a:ext cx="973184" cy="27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cap="all" dirty="0">
                <a:solidFill>
                  <a:schemeClr val="accent1"/>
                </a:solidFill>
                <a:cs typeface="Arial" panose="020B0604020202020204" pitchFamily="34" charset="0"/>
              </a:rPr>
              <a:t>Milestone </a:t>
            </a:r>
            <a:r>
              <a:rPr lang="en-US" sz="1400" cap="all" noProof="1">
                <a:solidFill>
                  <a:schemeClr val="accent1"/>
                </a:solidFill>
                <a:cs typeface="Arial" panose="020B0604020202020204" pitchFamily="34" charset="0"/>
              </a:rPr>
              <a:t>1</a:t>
            </a:r>
            <a:endParaRPr lang="en-US" sz="2000" cap="all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25" name="Line 416"/>
          <p:cNvSpPr>
            <a:spLocks noChangeShapeType="1"/>
          </p:cNvSpPr>
          <p:nvPr/>
        </p:nvSpPr>
        <p:spPr bwMode="gray">
          <a:xfrm flipH="1" flipV="1">
            <a:off x="6597007" y="1967601"/>
            <a:ext cx="0" cy="3925649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400"/>
          <p:cNvSpPr>
            <a:spLocks noChangeArrowheads="1"/>
          </p:cNvSpPr>
          <p:nvPr/>
        </p:nvSpPr>
        <p:spPr bwMode="gray">
          <a:xfrm>
            <a:off x="7514848" y="6034918"/>
            <a:ext cx="973184" cy="27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cap="all" dirty="0">
                <a:solidFill>
                  <a:schemeClr val="accent1"/>
                </a:solidFill>
                <a:cs typeface="Arial" panose="020B0604020202020204" pitchFamily="34" charset="0"/>
              </a:rPr>
              <a:t>Milestone </a:t>
            </a:r>
            <a:r>
              <a:rPr lang="en-US" sz="1400" cap="all" noProof="1">
                <a:solidFill>
                  <a:schemeClr val="accent1"/>
                </a:solidFill>
                <a:cs typeface="Arial" panose="020B0604020202020204" pitchFamily="34" charset="0"/>
              </a:rPr>
              <a:t>2</a:t>
            </a:r>
            <a:endParaRPr lang="en-US" sz="2000" cap="all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27" name="Line 416"/>
          <p:cNvSpPr>
            <a:spLocks noChangeShapeType="1"/>
          </p:cNvSpPr>
          <p:nvPr/>
        </p:nvSpPr>
        <p:spPr bwMode="gray">
          <a:xfrm flipH="1" flipV="1">
            <a:off x="8001440" y="1967601"/>
            <a:ext cx="0" cy="3925649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6060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sources Gantt Char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imetable</a:t>
            </a:r>
          </a:p>
        </p:txBody>
      </p:sp>
      <p:graphicFrame>
        <p:nvGraphicFramePr>
          <p:cNvPr id="7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870453"/>
              </p:ext>
            </p:extLst>
          </p:nvPr>
        </p:nvGraphicFramePr>
        <p:xfrm>
          <a:off x="617529" y="1449379"/>
          <a:ext cx="10953845" cy="4789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06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21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22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23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24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25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26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27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28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29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30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31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32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33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34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35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36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37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38"/>
                    </a:ext>
                  </a:extLst>
                </a:gridCol>
                <a:gridCol w="220594">
                  <a:extLst>
                    <a:ext uri="{9D8B030D-6E8A-4147-A177-3AD203B41FA5}">
                      <a16:colId xmlns:a16="http://schemas.microsoft.com/office/drawing/2014/main" xmlns="" val="20039"/>
                    </a:ext>
                  </a:extLst>
                </a:gridCol>
              </a:tblGrid>
              <a:tr h="252079">
                <a:tc>
                  <a:txBody>
                    <a:bodyPr/>
                    <a:lstStyle/>
                    <a:p>
                      <a:r>
                        <a:rPr lang="en-US" sz="900" b="0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 b="0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Januar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900" b="0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Februar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 b="0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March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 b="0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April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900" b="0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 b="0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June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 b="0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Jul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900" b="0" cap="all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Augus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9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 b="0" cap="all" spc="-20" baseline="0" noProof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Septemb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pPr algn="r"/>
                      <a:r>
                        <a:rPr lang="en-US" sz="8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week</a:t>
                      </a:r>
                      <a:endParaRPr lang="en-US" sz="9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66484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2079">
                <a:tc gridSpan="40">
                  <a:txBody>
                    <a:bodyPr/>
                    <a:lstStyle/>
                    <a:p>
                      <a:r>
                        <a:rPr lang="en-US" sz="1000" b="0" cap="all" baseline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2079">
                <a:tc gridSpan="40">
                  <a:txBody>
                    <a:bodyPr/>
                    <a:lstStyle/>
                    <a:p>
                      <a:r>
                        <a:rPr lang="en-US" sz="1000" b="0" kern="1200" cap="all" baseline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hase 2 </a:t>
                      </a: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52079">
                <a:tc gridSpan="40">
                  <a:txBody>
                    <a:bodyPr/>
                    <a:lstStyle/>
                    <a:p>
                      <a:r>
                        <a:rPr lang="en-US" sz="1000" b="0" kern="1200" cap="all" baseline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52079">
                <a:tc gridSpan="40">
                  <a:txBody>
                    <a:bodyPr/>
                    <a:lstStyle/>
                    <a:p>
                      <a:r>
                        <a:rPr lang="en-US" sz="1000" b="0" kern="1200" cap="all" baseline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52079">
                <a:tc>
                  <a:txBody>
                    <a:bodyPr/>
                    <a:lstStyle/>
                    <a:p>
                      <a:r>
                        <a:rPr lang="en-US" sz="900" b="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ask</a:t>
                      </a:r>
                      <a:endParaRPr lang="en-US" sz="800" b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34416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Gantt-Char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7" name="Tabelle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12064"/>
              </p:ext>
            </p:extLst>
          </p:nvPr>
        </p:nvGraphicFramePr>
        <p:xfrm>
          <a:off x="617541" y="1840290"/>
          <a:ext cx="10942965" cy="3707572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96360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831613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337052">
                <a:tc>
                  <a:txBody>
                    <a:bodyPr/>
                    <a:lstStyle/>
                    <a:p>
                      <a:endParaRPr lang="en-US" sz="1900" noProof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January</a:t>
                      </a:r>
                    </a:p>
                  </a:txBody>
                  <a:tcPr marL="54007" marR="54007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ebruary</a:t>
                      </a: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rch</a:t>
                      </a: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pril</a:t>
                      </a:r>
                    </a:p>
                  </a:txBody>
                  <a:tcPr marL="54007" marR="54007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y</a:t>
                      </a: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June</a:t>
                      </a: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July</a:t>
                      </a: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ugust</a:t>
                      </a: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eptember</a:t>
                      </a: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ctober</a:t>
                      </a: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vember</a:t>
                      </a: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79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cember</a:t>
                      </a: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rgbClr val="009CDA"/>
                        </a:gs>
                      </a:gsLst>
                      <a:lin ang="162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052">
                <a:tc>
                  <a:txBody>
                    <a:bodyPr/>
                    <a:lstStyle/>
                    <a:p>
                      <a:pPr marL="0" algn="l" defTabSz="1007963" rtl="0" eaLnBrk="1" latinLnBrk="0" hangingPunct="1"/>
                      <a:r>
                        <a:rPr lang="en-US" sz="1200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7052">
                <a:tc>
                  <a:txBody>
                    <a:bodyPr/>
                    <a:lstStyle/>
                    <a:p>
                      <a:pPr marL="0" algn="l" defTabSz="1007963" rtl="0" eaLnBrk="1" latinLnBrk="0" hangingPunct="1"/>
                      <a:r>
                        <a:rPr lang="en-US" sz="1200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7052">
                <a:tc>
                  <a:txBody>
                    <a:bodyPr/>
                    <a:lstStyle/>
                    <a:p>
                      <a:pPr marL="0" algn="l" defTabSz="1007963" rtl="0" eaLnBrk="1" latinLnBrk="0" hangingPunct="1"/>
                      <a:r>
                        <a:rPr lang="en-US" sz="1200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37052">
                <a:tc>
                  <a:txBody>
                    <a:bodyPr/>
                    <a:lstStyle/>
                    <a:p>
                      <a:pPr marL="0" algn="l" defTabSz="1007963" rtl="0" eaLnBrk="1" latinLnBrk="0" hangingPunct="1"/>
                      <a:r>
                        <a:rPr lang="en-US" sz="1200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7052">
                <a:tc>
                  <a:txBody>
                    <a:bodyPr/>
                    <a:lstStyle/>
                    <a:p>
                      <a:pPr marL="0" algn="l" defTabSz="1007963" rtl="0" eaLnBrk="1" latinLnBrk="0" hangingPunct="1"/>
                      <a:r>
                        <a:rPr lang="en-US" sz="1200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37052">
                <a:tc>
                  <a:txBody>
                    <a:bodyPr/>
                    <a:lstStyle/>
                    <a:p>
                      <a:pPr marL="0" algn="l" defTabSz="1007963" rtl="0" eaLnBrk="1" latinLnBrk="0" hangingPunct="1"/>
                      <a:r>
                        <a:rPr lang="en-US" sz="1200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37052">
                <a:tc>
                  <a:txBody>
                    <a:bodyPr/>
                    <a:lstStyle/>
                    <a:p>
                      <a:pPr marL="0" algn="l" defTabSz="1007963" rtl="0" eaLnBrk="1" latinLnBrk="0" hangingPunct="1"/>
                      <a:r>
                        <a:rPr lang="en-US" sz="1200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37052">
                <a:tc>
                  <a:txBody>
                    <a:bodyPr/>
                    <a:lstStyle/>
                    <a:p>
                      <a:pPr marL="0" algn="l" defTabSz="1007963" rtl="0" eaLnBrk="1" latinLnBrk="0" hangingPunct="1"/>
                      <a:r>
                        <a:rPr lang="en-US" sz="1200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37052">
                <a:tc>
                  <a:txBody>
                    <a:bodyPr/>
                    <a:lstStyle/>
                    <a:p>
                      <a:pPr marL="0" algn="l" defTabSz="1007963" rtl="0" eaLnBrk="1" latinLnBrk="0" hangingPunct="1"/>
                      <a:r>
                        <a:rPr lang="en-US" sz="1200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7963" rtl="0" eaLnBrk="1" latinLnBrk="0" hangingPunct="1"/>
                      <a:endParaRPr lang="en-US" sz="1200" kern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7052">
                <a:tc>
                  <a:txBody>
                    <a:bodyPr/>
                    <a:lstStyle/>
                    <a:p>
                      <a:pPr marL="0" algn="l" defTabSz="1007963" rtl="0" eaLnBrk="1" latinLnBrk="0" hangingPunct="1"/>
                      <a:r>
                        <a:rPr lang="en-US" sz="1200" kern="1200" noProof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sk</a:t>
                      </a: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noProof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7" marR="54007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cxnSp>
        <p:nvCxnSpPr>
          <p:cNvPr id="8" name="Gerader Verbinder 34"/>
          <p:cNvCxnSpPr/>
          <p:nvPr/>
        </p:nvCxnSpPr>
        <p:spPr bwMode="gray">
          <a:xfrm>
            <a:off x="3902075" y="2178844"/>
            <a:ext cx="0" cy="3369018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12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1619250" y="2232969"/>
            <a:ext cx="1581150" cy="21600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7976" tIns="35998" rIns="107976" bIns="35998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</a:rPr>
              <a:t>xxx</a:t>
            </a:r>
          </a:p>
        </p:txBody>
      </p:sp>
      <p:sp>
        <p:nvSpPr>
          <p:cNvPr id="10" name="Rectangle 12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1959195" y="2568767"/>
            <a:ext cx="1241205" cy="216000"/>
          </a:xfrm>
          <a:prstGeom prst="rect">
            <a:avLst/>
          </a:prstGeom>
          <a:solidFill>
            <a:schemeClr val="accent3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7976" tIns="35998" rIns="107976" bIns="35998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Arial" panose="020B0604020202020204" pitchFamily="34" charset="0"/>
              </a:rPr>
              <a:t>xxx</a:t>
            </a:r>
          </a:p>
        </p:txBody>
      </p:sp>
      <p:sp>
        <p:nvSpPr>
          <p:cNvPr id="11" name="Rectangle 12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2045106" y="2904565"/>
            <a:ext cx="1512482" cy="216000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7976" tIns="35998" rIns="107976" bIns="35998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</a:rPr>
              <a:t>xxx</a:t>
            </a:r>
          </a:p>
        </p:txBody>
      </p:sp>
      <p:sp>
        <p:nvSpPr>
          <p:cNvPr id="12" name="Rectangle 12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2726430" y="3240363"/>
            <a:ext cx="1175645" cy="216000"/>
          </a:xfrm>
          <a:prstGeom prst="rect">
            <a:avLst/>
          </a:prstGeom>
          <a:solidFill>
            <a:schemeClr val="tx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7976" tIns="35998" rIns="107976" bIns="35998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Arial" panose="020B0604020202020204" pitchFamily="34" charset="0"/>
              </a:rPr>
              <a:t>xxx</a:t>
            </a:r>
          </a:p>
        </p:txBody>
      </p:sp>
      <p:sp>
        <p:nvSpPr>
          <p:cNvPr id="13" name="Rectangle 12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902074" y="3576161"/>
            <a:ext cx="981076" cy="224442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7976" tIns="35998" rIns="107976" bIns="35998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</a:rPr>
              <a:t>xxx</a:t>
            </a:r>
          </a:p>
        </p:txBody>
      </p:sp>
      <p:sp>
        <p:nvSpPr>
          <p:cNvPr id="14" name="Rectangle 12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902074" y="3920401"/>
            <a:ext cx="4784726" cy="216000"/>
          </a:xfrm>
          <a:prstGeom prst="rect">
            <a:avLst/>
          </a:prstGeom>
          <a:solidFill>
            <a:schemeClr val="accent3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7976" tIns="35998" rIns="107976" bIns="35998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Arial" panose="020B0604020202020204" pitchFamily="34" charset="0"/>
              </a:rPr>
              <a:t>xxx</a:t>
            </a:r>
          </a:p>
        </p:txBody>
      </p:sp>
      <p:sp>
        <p:nvSpPr>
          <p:cNvPr id="15" name="Rectangle 12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10401301" y="4927795"/>
            <a:ext cx="1088576" cy="21600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7976" tIns="35998" rIns="107976" bIns="35998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</a:rPr>
              <a:t>xxx</a:t>
            </a:r>
          </a:p>
        </p:txBody>
      </p:sp>
      <p:sp>
        <p:nvSpPr>
          <p:cNvPr id="16" name="Rectangle 15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902075" y="4256199"/>
            <a:ext cx="5577205" cy="216000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7976" tIns="35998" rIns="107976" bIns="35998" anchor="ctr"/>
          <a:lstStyle/>
          <a:p>
            <a:pPr algn="ctr"/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</a:rPr>
              <a:t>xxx</a:t>
            </a:r>
          </a:p>
        </p:txBody>
      </p:sp>
      <p:sp>
        <p:nvSpPr>
          <p:cNvPr id="17" name="Rectangle 12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8686800" y="4591997"/>
            <a:ext cx="1952668" cy="216000"/>
          </a:xfrm>
          <a:prstGeom prst="rect">
            <a:avLst/>
          </a:prstGeom>
          <a:solidFill>
            <a:schemeClr val="tx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7976" tIns="35998" rIns="107976" bIns="35998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Arial" panose="020B0604020202020204" pitchFamily="34" charset="0"/>
              </a:rPr>
              <a:t>xxx</a:t>
            </a:r>
          </a:p>
        </p:txBody>
      </p:sp>
      <p:sp>
        <p:nvSpPr>
          <p:cNvPr id="18" name="Rectangle 12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9615488" y="5263592"/>
            <a:ext cx="1874401" cy="216000"/>
          </a:xfrm>
          <a:prstGeom prst="rect">
            <a:avLst/>
          </a:prstGeom>
          <a:solidFill>
            <a:schemeClr val="accent3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07976" tIns="35998" rIns="107976" bIns="35998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Arial" panose="020B0604020202020204" pitchFamily="34" charset="0"/>
              </a:rPr>
              <a:t>xxx</a:t>
            </a:r>
          </a:p>
        </p:txBody>
      </p:sp>
      <p:sp>
        <p:nvSpPr>
          <p:cNvPr id="19" name="Textplatzhalter 3"/>
          <p:cNvSpPr txBox="1">
            <a:spLocks/>
          </p:cNvSpPr>
          <p:nvPr/>
        </p:nvSpPr>
        <p:spPr bwMode="gray">
          <a:xfrm>
            <a:off x="3127973" y="5854505"/>
            <a:ext cx="1548203" cy="384369"/>
          </a:xfrm>
          <a:prstGeom prst="rect">
            <a:avLst/>
          </a:prstGeom>
        </p:spPr>
        <p:txBody>
          <a:bodyPr lIns="0" tIns="0" rIns="0" bIns="0"/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12A22"/>
              </a:buClr>
              <a:buFont typeface="Arial" pitchFamily="34" charset="0"/>
              <a:defRPr sz="14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79388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▪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36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9D958D"/>
              </a:buClr>
              <a:buSzPct val="150000"/>
              <a:buFont typeface="Arial" panose="020B0604020202020204" pitchFamily="34" charset="0"/>
              <a:buChar char="▪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54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6pPr>
            <a:lvl7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7pPr>
            <a:lvl8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8pPr>
            <a:lvl9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b="0" cap="all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MILESTONE 1</a:t>
            </a:r>
            <a:endParaRPr lang="en-US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20" name="Textplatzhalter 5"/>
          <p:cNvSpPr txBox="1">
            <a:spLocks/>
          </p:cNvSpPr>
          <p:nvPr/>
        </p:nvSpPr>
        <p:spPr bwMode="gray">
          <a:xfrm>
            <a:off x="7905265" y="1469355"/>
            <a:ext cx="3420446" cy="360000"/>
          </a:xfrm>
          <a:prstGeom prst="rect">
            <a:avLst/>
          </a:prstGeom>
        </p:spPr>
        <p:txBody>
          <a:bodyPr lIns="108000" tIns="0" rIns="108000" bIns="86400" anchor="b"/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12A22"/>
              </a:buClr>
              <a:buFont typeface="Arial" pitchFamily="34" charset="0"/>
              <a:defRPr sz="16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79388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▪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36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9D958D"/>
              </a:buClr>
              <a:buSzPct val="150000"/>
              <a:buFont typeface="Arial" panose="020B0604020202020204" pitchFamily="34" charset="0"/>
              <a:buChar char="▪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54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6pPr>
            <a:lvl7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7pPr>
            <a:lvl8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8pPr>
            <a:lvl9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algn="r"/>
            <a:r>
              <a:rPr lang="en-US" sz="1400" b="0" cap="all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END OF YEAR</a:t>
            </a:r>
            <a:endParaRPr lang="en-US" sz="14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21" name="Textplatzhalter 5"/>
          <p:cNvSpPr txBox="1">
            <a:spLocks/>
          </p:cNvSpPr>
          <p:nvPr/>
        </p:nvSpPr>
        <p:spPr bwMode="gray">
          <a:xfrm>
            <a:off x="1729220" y="1469355"/>
            <a:ext cx="4540233" cy="360000"/>
          </a:xfrm>
          <a:prstGeom prst="rect">
            <a:avLst/>
          </a:prstGeom>
        </p:spPr>
        <p:txBody>
          <a:bodyPr lIns="107976" tIns="0" rIns="107976" bIns="86383" anchor="b"/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12A22"/>
              </a:buClr>
              <a:buFont typeface="Arial" pitchFamily="34" charset="0"/>
              <a:defRPr sz="16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79388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▪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36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9D958D"/>
              </a:buClr>
              <a:buSzPct val="150000"/>
              <a:buFont typeface="Arial" panose="020B0604020202020204" pitchFamily="34" charset="0"/>
              <a:buChar char="▪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54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6pPr>
            <a:lvl7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7pPr>
            <a:lvl8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8pPr>
            <a:lvl9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sz="1400" b="0" cap="all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START OF YEAR</a:t>
            </a:r>
            <a:endParaRPr lang="en-US" sz="14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22" name="Textplatzhalter 4"/>
          <p:cNvSpPr txBox="1">
            <a:spLocks/>
          </p:cNvSpPr>
          <p:nvPr/>
        </p:nvSpPr>
        <p:spPr bwMode="gray">
          <a:xfrm>
            <a:off x="3307080" y="2232971"/>
            <a:ext cx="1203867" cy="216000"/>
          </a:xfrm>
          <a:prstGeom prst="rect">
            <a:avLst/>
          </a:prstGeom>
          <a:noFill/>
        </p:spPr>
        <p:txBody>
          <a:bodyPr wrap="none" lIns="71988" tIns="35998" rIns="71988" bIns="35998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2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80000" indent="-180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8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18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6pPr>
            <a:lvl7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7pPr>
            <a:lvl8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8pPr>
            <a:lvl9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9pPr>
          </a:lstStyle>
          <a:p>
            <a:pPr marL="0" lvl="1" indent="0">
              <a:buClr>
                <a:schemeClr val="bg2"/>
              </a:buClr>
              <a:buNone/>
            </a:pPr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isky</a:t>
            </a:r>
          </a:p>
        </p:txBody>
      </p:sp>
      <p:sp>
        <p:nvSpPr>
          <p:cNvPr id="23" name="Textplatzhalter 4"/>
          <p:cNvSpPr txBox="1">
            <a:spLocks/>
          </p:cNvSpPr>
          <p:nvPr/>
        </p:nvSpPr>
        <p:spPr bwMode="gray">
          <a:xfrm>
            <a:off x="3307080" y="2565701"/>
            <a:ext cx="1203867" cy="216000"/>
          </a:xfrm>
          <a:prstGeom prst="rect">
            <a:avLst/>
          </a:prstGeom>
          <a:noFill/>
        </p:spPr>
        <p:txBody>
          <a:bodyPr wrap="none" lIns="71988" tIns="35998" rIns="71988" bIns="35998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2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80000" indent="-180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8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18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6pPr>
            <a:lvl7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7pPr>
            <a:lvl8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8pPr>
            <a:lvl9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9pPr>
          </a:lstStyle>
          <a:p>
            <a:pPr marL="0" lvl="1" indent="0">
              <a:buClr>
                <a:schemeClr val="bg2"/>
              </a:buClr>
              <a:buNone/>
            </a:pPr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isky</a:t>
            </a:r>
          </a:p>
        </p:txBody>
      </p:sp>
      <p:sp>
        <p:nvSpPr>
          <p:cNvPr id="24" name="Textplatzhalter 4"/>
          <p:cNvSpPr txBox="1">
            <a:spLocks/>
          </p:cNvSpPr>
          <p:nvPr/>
        </p:nvSpPr>
        <p:spPr bwMode="gray">
          <a:xfrm>
            <a:off x="4985208" y="3584603"/>
            <a:ext cx="1203867" cy="216000"/>
          </a:xfrm>
          <a:prstGeom prst="rect">
            <a:avLst/>
          </a:prstGeom>
          <a:noFill/>
        </p:spPr>
        <p:txBody>
          <a:bodyPr wrap="none" lIns="71988" tIns="35998" rIns="71988" bIns="35998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2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80000" indent="-180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8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18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6pPr>
            <a:lvl7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7pPr>
            <a:lvl8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8pPr>
            <a:lvl9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</a:defRPr>
            </a:lvl9pPr>
          </a:lstStyle>
          <a:p>
            <a:pPr marL="0" lvl="1" indent="0">
              <a:buClr>
                <a:schemeClr val="bg2"/>
              </a:buClr>
              <a:buNone/>
            </a:pPr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Risky</a:t>
            </a:r>
          </a:p>
        </p:txBody>
      </p:sp>
      <p:grpSp>
        <p:nvGrpSpPr>
          <p:cNvPr id="25" name="Gruppieren 43"/>
          <p:cNvGrpSpPr/>
          <p:nvPr/>
        </p:nvGrpSpPr>
        <p:grpSpPr>
          <a:xfrm rot="16200000">
            <a:off x="3821070" y="5572260"/>
            <a:ext cx="162009" cy="296148"/>
            <a:chOff x="7639482" y="1832465"/>
            <a:chExt cx="229808" cy="420082"/>
          </a:xfrm>
          <a:solidFill>
            <a:schemeClr val="bg1"/>
          </a:solidFill>
        </p:grpSpPr>
        <p:sp>
          <p:nvSpPr>
            <p:cNvPr id="26" name="Freeform 59"/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386" tIns="45702" rIns="91386" bIns="45702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7" name="Freeform 59"/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386" tIns="45702" rIns="91386" bIns="45702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28" name="Gruppieren 47"/>
          <p:cNvGrpSpPr/>
          <p:nvPr/>
        </p:nvGrpSpPr>
        <p:grpSpPr>
          <a:xfrm>
            <a:off x="3243603" y="2251262"/>
            <a:ext cx="98151" cy="179418"/>
            <a:chOff x="7639482" y="1832465"/>
            <a:chExt cx="229808" cy="420082"/>
          </a:xfrm>
          <a:solidFill>
            <a:schemeClr val="bg2"/>
          </a:solidFill>
        </p:grpSpPr>
        <p:sp>
          <p:nvSpPr>
            <p:cNvPr id="29" name="Freeform 59"/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386" tIns="45702" rIns="91386" bIns="45702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0" name="Freeform 59"/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386" tIns="45702" rIns="91386" bIns="45702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31" name="Gruppieren 50"/>
          <p:cNvGrpSpPr/>
          <p:nvPr/>
        </p:nvGrpSpPr>
        <p:grpSpPr>
          <a:xfrm>
            <a:off x="3243603" y="2587058"/>
            <a:ext cx="98151" cy="179418"/>
            <a:chOff x="7639482" y="1832465"/>
            <a:chExt cx="229808" cy="420082"/>
          </a:xfrm>
          <a:solidFill>
            <a:schemeClr val="bg2"/>
          </a:solidFill>
        </p:grpSpPr>
        <p:sp>
          <p:nvSpPr>
            <p:cNvPr id="32" name="Freeform 59"/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386" tIns="45702" rIns="91386" bIns="45702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59"/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vert="horz" wrap="square" lIns="91386" tIns="45702" rIns="91386" bIns="45702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34" name="Gruppieren 59"/>
          <p:cNvGrpSpPr/>
          <p:nvPr/>
        </p:nvGrpSpPr>
        <p:grpSpPr>
          <a:xfrm>
            <a:off x="4918661" y="3598673"/>
            <a:ext cx="98151" cy="179418"/>
            <a:chOff x="7639482" y="1832465"/>
            <a:chExt cx="229808" cy="420082"/>
          </a:xfrm>
          <a:solidFill>
            <a:schemeClr val="bg2"/>
          </a:solidFill>
        </p:grpSpPr>
        <p:sp>
          <p:nvSpPr>
            <p:cNvPr id="35" name="Freeform 59"/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86" tIns="45702" rIns="91386" bIns="45702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6" name="Freeform 59"/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86" tIns="45702" rIns="91386" bIns="45702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7238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4963" y="510504"/>
            <a:ext cx="11520487" cy="498598"/>
          </a:xfrm>
        </p:spPr>
        <p:txBody>
          <a:bodyPr>
            <a:normAutofit/>
          </a:bodyPr>
          <a:lstStyle/>
          <a:p>
            <a:r>
              <a:rPr lang="en-US" dirty="0"/>
              <a:t>Timeline – 5 week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58" name="Gruppieren 3"/>
          <p:cNvGrpSpPr/>
          <p:nvPr/>
        </p:nvGrpSpPr>
        <p:grpSpPr bwMode="gray">
          <a:xfrm>
            <a:off x="617538" y="1437096"/>
            <a:ext cx="10956926" cy="4768655"/>
            <a:chOff x="558877" y="1627187"/>
            <a:chExt cx="11074263" cy="4605337"/>
          </a:xfrm>
        </p:grpSpPr>
        <p:sp>
          <p:nvSpPr>
            <p:cNvPr id="59" name="Gleichschenkliges Dreieck 75"/>
            <p:cNvSpPr/>
            <p:nvPr/>
          </p:nvSpPr>
          <p:spPr bwMode="gray">
            <a:xfrm flipH="1" flipV="1">
              <a:off x="4793501" y="4245295"/>
              <a:ext cx="189535" cy="167552"/>
            </a:xfrm>
            <a:prstGeom prst="triangle">
              <a:avLst>
                <a:gd name="adj" fmla="val 100000"/>
              </a:avLst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rgbClr val="5F5F5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0" name="Line 55" descr="© INSCALE GmbH, 26.05.2010&#10;http://www.presentationload.com/"/>
            <p:cNvSpPr>
              <a:spLocks noChangeShapeType="1"/>
            </p:cNvSpPr>
            <p:nvPr/>
          </p:nvSpPr>
          <p:spPr bwMode="gray">
            <a:xfrm flipV="1">
              <a:off x="4793491" y="4350497"/>
              <a:ext cx="0" cy="1882027"/>
            </a:xfrm>
            <a:prstGeom prst="line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oval"/>
              <a:tailEnd/>
            </a:ln>
            <a:effectLst/>
          </p:spPr>
          <p:txBody>
            <a:bodyPr lIns="91422" tIns="45718" rIns="91422" bIns="45718"/>
            <a:lstStyle/>
            <a:p>
              <a:endParaRPr lang="en-US" b="1" dirty="0">
                <a:solidFill>
                  <a:srgbClr val="5F5F5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1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869297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62" name="Rectangle 1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58877" y="3881535"/>
              <a:ext cx="310411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63" name="Rectangle 1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501528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64" name="Rectangle 1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817640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F</a:t>
              </a:r>
            </a:p>
          </p:txBody>
        </p:sp>
        <p:sp>
          <p:nvSpPr>
            <p:cNvPr id="65" name="Rectangle 1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133745" y="3881535"/>
              <a:ext cx="316467" cy="3637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66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185410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67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450220" y="3881535"/>
              <a:ext cx="316113" cy="3637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68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302701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69" name="Rectangle 1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983025" y="3881535"/>
              <a:ext cx="319667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70" name="Rectangle 1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934932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71" name="Rectangle 1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251044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F</a:t>
              </a:r>
            </a:p>
          </p:txBody>
        </p:sp>
        <p:sp>
          <p:nvSpPr>
            <p:cNvPr id="72" name="Rectangle 1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567149" y="3881535"/>
              <a:ext cx="316467" cy="3637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73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618814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74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883624" y="3881535"/>
              <a:ext cx="316113" cy="3637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75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086001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76" name="Rectangle 1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766323" y="3881535"/>
              <a:ext cx="319668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77" name="Rectangle 1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718228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78" name="Rectangle 1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034341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F</a:t>
              </a:r>
            </a:p>
          </p:txBody>
        </p:sp>
        <p:sp>
          <p:nvSpPr>
            <p:cNvPr id="79" name="Rectangle 1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350445" y="3881535"/>
              <a:ext cx="316467" cy="3637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91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402114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92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666924" y="3881535"/>
              <a:ext cx="316113" cy="3637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93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519405" y="3881535"/>
              <a:ext cx="316113" cy="363760"/>
            </a:xfrm>
            <a:prstGeom prst="rect">
              <a:avLst/>
            </a:prstGeom>
            <a:solidFill>
              <a:schemeClr val="accent6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94" name="Rectangle 1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199724" y="3881535"/>
              <a:ext cx="319669" cy="363760"/>
            </a:xfrm>
            <a:prstGeom prst="rect">
              <a:avLst/>
            </a:prstGeom>
            <a:solidFill>
              <a:schemeClr val="accent6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95" name="Rectangle 1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8151632" y="3881535"/>
              <a:ext cx="316113" cy="363760"/>
            </a:xfrm>
            <a:prstGeom prst="rect">
              <a:avLst/>
            </a:prstGeom>
            <a:solidFill>
              <a:schemeClr val="accent6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99" name="Rectangle 1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8467745" y="3881535"/>
              <a:ext cx="316113" cy="363760"/>
            </a:xfrm>
            <a:prstGeom prst="rect">
              <a:avLst/>
            </a:prstGeom>
            <a:solidFill>
              <a:schemeClr val="accent6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cs typeface="Arial" panose="020B0604020202020204" pitchFamily="34" charset="0"/>
                </a:rPr>
                <a:t>F</a:t>
              </a:r>
            </a:p>
          </p:txBody>
        </p:sp>
        <p:sp>
          <p:nvSpPr>
            <p:cNvPr id="103" name="Rectangle 1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8783849" y="3881535"/>
              <a:ext cx="316467" cy="36376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105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835517" y="3881535"/>
              <a:ext cx="316113" cy="363760"/>
            </a:xfrm>
            <a:prstGeom prst="rect">
              <a:avLst/>
            </a:prstGeom>
            <a:solidFill>
              <a:schemeClr val="accent6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srgbClr val="5F5F5F"/>
                  </a:solidFill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106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9100328" y="3881535"/>
              <a:ext cx="316113" cy="36376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107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9736104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108" name="Rectangle 1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9416429" y="3881535"/>
              <a:ext cx="319667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109" name="Rectangle 13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0368333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110" name="Rectangle 1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0684446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F</a:t>
              </a:r>
            </a:p>
          </p:txBody>
        </p:sp>
        <p:sp>
          <p:nvSpPr>
            <p:cNvPr id="111" name="Rectangle 15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1000549" y="3881535"/>
              <a:ext cx="316467" cy="3637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112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0052218" y="3881535"/>
              <a:ext cx="31611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113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1317026" y="3881535"/>
              <a:ext cx="316113" cy="3637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dirty="0">
                  <a:solidFill>
                    <a:prstClr val="black"/>
                  </a:solidFill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114" name="Gleichschenkliges Dreieck 64"/>
            <p:cNvSpPr>
              <a:spLocks noChangeAspect="1"/>
            </p:cNvSpPr>
            <p:nvPr/>
          </p:nvSpPr>
          <p:spPr bwMode="gray">
            <a:xfrm>
              <a:off x="558885" y="3352135"/>
              <a:ext cx="190825" cy="165655"/>
            </a:xfrm>
            <a:prstGeom prst="triangle">
              <a:avLst>
                <a:gd name="adj" fmla="val 100000"/>
              </a:avLst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rgbClr val="5F5F5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5" name="Line 55" descr="© INSCALE GmbH, 26.05.2010&#10;http://www.presentationload.com/"/>
            <p:cNvSpPr>
              <a:spLocks noChangeShapeType="1"/>
            </p:cNvSpPr>
            <p:nvPr/>
          </p:nvSpPr>
          <p:spPr bwMode="gray">
            <a:xfrm flipV="1">
              <a:off x="749697" y="1627187"/>
              <a:ext cx="0" cy="1890588"/>
            </a:xfrm>
            <a:prstGeom prst="line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  <a:miter lim="800000"/>
              <a:headEnd/>
              <a:tailEnd type="oval"/>
            </a:ln>
            <a:effectLst/>
          </p:spPr>
          <p:txBody>
            <a:bodyPr lIns="91422" tIns="45718" rIns="91422" bIns="45718"/>
            <a:lstStyle/>
            <a:p>
              <a:endParaRPr lang="en-US" dirty="0">
                <a:solidFill>
                  <a:srgbClr val="5F5F5F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116" name="Gerade Verbindung 50"/>
            <p:cNvCxnSpPr/>
            <p:nvPr/>
          </p:nvCxnSpPr>
          <p:spPr bwMode="gray">
            <a:xfrm>
              <a:off x="2766321" y="3517775"/>
              <a:ext cx="0" cy="727520"/>
            </a:xfrm>
            <a:prstGeom prst="line">
              <a:avLst/>
            </a:prstGeom>
            <a:ln w="6350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51"/>
            <p:cNvCxnSpPr/>
            <p:nvPr/>
          </p:nvCxnSpPr>
          <p:spPr bwMode="gray">
            <a:xfrm>
              <a:off x="4983023" y="3517775"/>
              <a:ext cx="0" cy="727520"/>
            </a:xfrm>
            <a:prstGeom prst="line">
              <a:avLst/>
            </a:prstGeom>
            <a:ln w="6350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52"/>
            <p:cNvCxnSpPr/>
            <p:nvPr/>
          </p:nvCxnSpPr>
          <p:spPr bwMode="gray">
            <a:xfrm>
              <a:off x="7199724" y="3517775"/>
              <a:ext cx="0" cy="727520"/>
            </a:xfrm>
            <a:prstGeom prst="line">
              <a:avLst/>
            </a:prstGeom>
            <a:ln w="6350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53"/>
            <p:cNvCxnSpPr/>
            <p:nvPr/>
          </p:nvCxnSpPr>
          <p:spPr bwMode="gray">
            <a:xfrm>
              <a:off x="9416427" y="3517775"/>
              <a:ext cx="0" cy="727520"/>
            </a:xfrm>
            <a:prstGeom prst="line">
              <a:avLst/>
            </a:prstGeom>
            <a:ln w="6350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Gleichschenkliges Dreieck 64"/>
            <p:cNvSpPr>
              <a:spLocks noChangeAspect="1"/>
            </p:cNvSpPr>
            <p:nvPr/>
          </p:nvSpPr>
          <p:spPr bwMode="gray">
            <a:xfrm>
              <a:off x="4983036" y="3352135"/>
              <a:ext cx="190825" cy="165655"/>
            </a:xfrm>
            <a:prstGeom prst="triangle">
              <a:avLst>
                <a:gd name="adj" fmla="val 100000"/>
              </a:avLst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rgbClr val="5F5F5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1" name="Line 55" descr="© INSCALE GmbH, 26.05.2010&#10;http://www.presentationload.com/"/>
            <p:cNvSpPr>
              <a:spLocks noChangeShapeType="1"/>
            </p:cNvSpPr>
            <p:nvPr/>
          </p:nvSpPr>
          <p:spPr bwMode="gray">
            <a:xfrm flipV="1">
              <a:off x="5173847" y="1627187"/>
              <a:ext cx="0" cy="1890588"/>
            </a:xfrm>
            <a:prstGeom prst="line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  <a:miter lim="800000"/>
              <a:headEnd/>
              <a:tailEnd type="oval"/>
            </a:ln>
            <a:effectLst/>
          </p:spPr>
          <p:txBody>
            <a:bodyPr lIns="91422" tIns="45718" rIns="91422" bIns="45718"/>
            <a:lstStyle/>
            <a:p>
              <a:endParaRPr lang="en-US" dirty="0">
                <a:solidFill>
                  <a:srgbClr val="5F5F5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2" name="Gleichschenkliges Dreieck 64"/>
            <p:cNvSpPr>
              <a:spLocks noChangeAspect="1"/>
            </p:cNvSpPr>
            <p:nvPr/>
          </p:nvSpPr>
          <p:spPr bwMode="gray">
            <a:xfrm>
              <a:off x="9416438" y="3352135"/>
              <a:ext cx="190825" cy="165655"/>
            </a:xfrm>
            <a:prstGeom prst="triangle">
              <a:avLst>
                <a:gd name="adj" fmla="val 100000"/>
              </a:avLst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rgbClr val="5F5F5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3" name="Line 55" descr="© INSCALE GmbH, 26.05.2010&#10;http://www.presentationload.com/"/>
            <p:cNvSpPr>
              <a:spLocks noChangeShapeType="1"/>
            </p:cNvSpPr>
            <p:nvPr/>
          </p:nvSpPr>
          <p:spPr bwMode="gray">
            <a:xfrm flipV="1">
              <a:off x="9607251" y="1627187"/>
              <a:ext cx="0" cy="1890588"/>
            </a:xfrm>
            <a:prstGeom prst="line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  <a:miter lim="800000"/>
              <a:headEnd/>
              <a:tailEnd type="oval"/>
            </a:ln>
            <a:effectLst/>
          </p:spPr>
          <p:txBody>
            <a:bodyPr lIns="91422" tIns="45718" rIns="91422" bIns="45718"/>
            <a:lstStyle/>
            <a:p>
              <a:endParaRPr lang="en-US" dirty="0">
                <a:solidFill>
                  <a:srgbClr val="5F5F5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4" name="Gleichschenkliges Dreieck 75"/>
            <p:cNvSpPr/>
            <p:nvPr/>
          </p:nvSpPr>
          <p:spPr bwMode="gray">
            <a:xfrm flipH="1" flipV="1">
              <a:off x="9226905" y="4245295"/>
              <a:ext cx="189535" cy="167552"/>
            </a:xfrm>
            <a:prstGeom prst="triangle">
              <a:avLst>
                <a:gd name="adj" fmla="val 100000"/>
              </a:avLst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rgbClr val="5F5F5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5" name="Line 55" descr="© INSCALE GmbH, 26.05.2010&#10;http://www.presentationload.com/"/>
            <p:cNvSpPr>
              <a:spLocks noChangeShapeType="1"/>
            </p:cNvSpPr>
            <p:nvPr/>
          </p:nvSpPr>
          <p:spPr bwMode="gray">
            <a:xfrm flipV="1">
              <a:off x="9226895" y="4350497"/>
              <a:ext cx="0" cy="1882027"/>
            </a:xfrm>
            <a:prstGeom prst="line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oval"/>
              <a:tailEnd/>
            </a:ln>
            <a:effectLst/>
          </p:spPr>
          <p:txBody>
            <a:bodyPr lIns="91422" tIns="45718" rIns="91422" bIns="45718"/>
            <a:lstStyle/>
            <a:p>
              <a:endParaRPr lang="en-US" b="1" dirty="0">
                <a:solidFill>
                  <a:srgbClr val="5F5F5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6" name="Rectangle 12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58887" y="3517775"/>
              <a:ext cx="2207447" cy="363760"/>
            </a:xfrm>
            <a:prstGeom prst="rect">
              <a:avLst/>
            </a:prstGeom>
            <a:gradFill>
              <a:gsLst>
                <a:gs pos="0">
                  <a:schemeClr val="accent3">
                    <a:lumMod val="90000"/>
                    <a:lumOff val="10000"/>
                  </a:schemeClr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cs typeface="Arial" panose="020B0604020202020204" pitchFamily="34" charset="0"/>
                </a:rPr>
                <a:t>Week 1</a:t>
              </a:r>
            </a:p>
          </p:txBody>
        </p:sp>
        <p:sp>
          <p:nvSpPr>
            <p:cNvPr id="127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4983024" y="3517775"/>
              <a:ext cx="2216701" cy="363760"/>
            </a:xfrm>
            <a:prstGeom prst="rect">
              <a:avLst/>
            </a:prstGeom>
            <a:gradFill>
              <a:gsLst>
                <a:gs pos="0">
                  <a:schemeClr val="accent3">
                    <a:lumMod val="90000"/>
                    <a:lumOff val="10000"/>
                  </a:schemeClr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cs typeface="Arial" panose="020B0604020202020204" pitchFamily="34" charset="0"/>
                </a:rPr>
                <a:t>Week 3</a:t>
              </a:r>
            </a:p>
          </p:txBody>
        </p:sp>
        <p:sp>
          <p:nvSpPr>
            <p:cNvPr id="128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766331" y="3517775"/>
              <a:ext cx="2216703" cy="363760"/>
            </a:xfrm>
            <a:prstGeom prst="rect">
              <a:avLst/>
            </a:prstGeom>
            <a:gradFill>
              <a:gsLst>
                <a:gs pos="0">
                  <a:schemeClr val="accent3">
                    <a:lumMod val="90000"/>
                    <a:lumOff val="10000"/>
                  </a:schemeClr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cs typeface="Arial" panose="020B0604020202020204" pitchFamily="34" charset="0"/>
                </a:rPr>
                <a:t>Week 2</a:t>
              </a:r>
            </a:p>
          </p:txBody>
        </p:sp>
        <p:sp>
          <p:nvSpPr>
            <p:cNvPr id="129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7199734" y="3517775"/>
              <a:ext cx="2216703" cy="363760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b="1" dirty="0">
                  <a:cs typeface="Arial" panose="020B0604020202020204" pitchFamily="34" charset="0"/>
                </a:rPr>
                <a:t>Week 4</a:t>
              </a:r>
            </a:p>
          </p:txBody>
        </p:sp>
        <p:sp>
          <p:nvSpPr>
            <p:cNvPr id="130" name="Rectangle 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9416437" y="3517775"/>
              <a:ext cx="2216703" cy="363760"/>
            </a:xfrm>
            <a:prstGeom prst="rect">
              <a:avLst/>
            </a:prstGeom>
            <a:gradFill>
              <a:gsLst>
                <a:gs pos="0">
                  <a:schemeClr val="accent3">
                    <a:lumMod val="90000"/>
                    <a:lumOff val="10000"/>
                  </a:schemeClr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107976" tIns="0" rIns="107976" bIns="0" anchor="ctr"/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cs typeface="Arial" panose="020B0604020202020204" pitchFamily="34" charset="0"/>
                </a:rPr>
                <a:t>Week 5</a:t>
              </a:r>
            </a:p>
          </p:txBody>
        </p:sp>
      </p:grpSp>
      <p:sp>
        <p:nvSpPr>
          <p:cNvPr id="131" name="Textplatzhalter 3"/>
          <p:cNvSpPr txBox="1">
            <a:spLocks/>
          </p:cNvSpPr>
          <p:nvPr/>
        </p:nvSpPr>
        <p:spPr bwMode="gray">
          <a:xfrm>
            <a:off x="924660" y="1592810"/>
            <a:ext cx="1995258" cy="1765674"/>
          </a:xfrm>
          <a:prstGeom prst="rect">
            <a:avLst/>
          </a:prstGeom>
        </p:spPr>
        <p:txBody>
          <a:bodyPr vert="horz" lIns="108000" tIns="0" rIns="10800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ACTIVITY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</p:txBody>
      </p:sp>
      <p:sp>
        <p:nvSpPr>
          <p:cNvPr id="132" name="Textplatzhalter 3"/>
          <p:cNvSpPr txBox="1">
            <a:spLocks/>
          </p:cNvSpPr>
          <p:nvPr/>
        </p:nvSpPr>
        <p:spPr bwMode="gray">
          <a:xfrm>
            <a:off x="5301922" y="1592810"/>
            <a:ext cx="1995258" cy="1765674"/>
          </a:xfrm>
          <a:prstGeom prst="rect">
            <a:avLst/>
          </a:prstGeom>
        </p:spPr>
        <p:txBody>
          <a:bodyPr vert="horz" lIns="108000" tIns="0" rIns="10800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ACTIVITY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lvl="2" indent="0">
              <a:buNone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3" name="Textplatzhalter 3"/>
          <p:cNvSpPr txBox="1">
            <a:spLocks/>
          </p:cNvSpPr>
          <p:nvPr/>
        </p:nvSpPr>
        <p:spPr bwMode="gray">
          <a:xfrm>
            <a:off x="9688364" y="1592810"/>
            <a:ext cx="1995258" cy="1765674"/>
          </a:xfrm>
          <a:prstGeom prst="rect">
            <a:avLst/>
          </a:prstGeom>
        </p:spPr>
        <p:txBody>
          <a:bodyPr vert="horz" lIns="108000" tIns="0" rIns="10800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ACTIVITY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lvl="2" indent="0">
              <a:buNone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4" name="Textplatzhalter 3"/>
          <p:cNvSpPr txBox="1">
            <a:spLocks/>
          </p:cNvSpPr>
          <p:nvPr/>
        </p:nvSpPr>
        <p:spPr bwMode="gray">
          <a:xfrm>
            <a:off x="2686777" y="4797553"/>
            <a:ext cx="1995258" cy="1432582"/>
          </a:xfrm>
          <a:prstGeom prst="rect">
            <a:avLst/>
          </a:prstGeom>
        </p:spPr>
        <p:txBody>
          <a:bodyPr vert="horz" lIns="108000" tIns="0" rIns="10800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b="1" dirty="0">
                <a:solidFill>
                  <a:schemeClr val="accent1"/>
                </a:solidFill>
              </a:rPr>
              <a:t>ACTIVITY</a:t>
            </a:r>
          </a:p>
          <a:p>
            <a:pPr algn="r" rtl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algn="r" rtl="1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lvl="2" indent="0" algn="r" rtl="1">
              <a:buNone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5" name="Textplatzhalter 3"/>
          <p:cNvSpPr txBox="1">
            <a:spLocks/>
          </p:cNvSpPr>
          <p:nvPr/>
        </p:nvSpPr>
        <p:spPr bwMode="gray">
          <a:xfrm>
            <a:off x="7073219" y="4797553"/>
            <a:ext cx="1995258" cy="1432582"/>
          </a:xfrm>
          <a:prstGeom prst="rect">
            <a:avLst/>
          </a:prstGeom>
        </p:spPr>
        <p:txBody>
          <a:bodyPr vert="horz" lIns="108000" tIns="0" rIns="10800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b="1" dirty="0">
                <a:solidFill>
                  <a:schemeClr val="accent1"/>
                </a:solidFill>
              </a:rPr>
              <a:t>ACTIVITY</a:t>
            </a:r>
          </a:p>
          <a:p>
            <a:pPr algn="r" rtl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algn="r" rtl="1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lvl="2" indent="0" algn="r" rtl="1">
              <a:buNone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3700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26" name="Line 20"/>
          <p:cNvSpPr>
            <a:spLocks noChangeShapeType="1"/>
          </p:cNvSpPr>
          <p:nvPr/>
        </p:nvSpPr>
        <p:spPr bwMode="gray">
          <a:xfrm flipV="1">
            <a:off x="898548" y="2844488"/>
            <a:ext cx="0" cy="1888219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8" name="Line 20"/>
          <p:cNvSpPr>
            <a:spLocks noChangeShapeType="1"/>
          </p:cNvSpPr>
          <p:nvPr/>
        </p:nvSpPr>
        <p:spPr bwMode="gray">
          <a:xfrm rot="16200000" flipV="1">
            <a:off x="6094458" y="-268246"/>
            <a:ext cx="0" cy="10953843"/>
          </a:xfrm>
          <a:prstGeom prst="lin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9" name="Muenchen PKT"/>
          <p:cNvSpPr/>
          <p:nvPr/>
        </p:nvSpPr>
        <p:spPr bwMode="gray">
          <a:xfrm>
            <a:off x="617536" y="5136675"/>
            <a:ext cx="144000" cy="1440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8" rIns="91422" bIns="45718" rtlCol="0" anchor="ctr"/>
          <a:lstStyle/>
          <a:p>
            <a:pPr algn="ctr"/>
            <a:endParaRPr lang="en-US" sz="17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0" name="Muenchen PKT"/>
          <p:cNvSpPr/>
          <p:nvPr/>
        </p:nvSpPr>
        <p:spPr bwMode="gray">
          <a:xfrm>
            <a:off x="4244818" y="5154675"/>
            <a:ext cx="108000" cy="1080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8" rIns="91422" bIns="45718" rtlCol="0" anchor="ctr"/>
          <a:lstStyle/>
          <a:p>
            <a:pPr algn="ctr"/>
            <a:endParaRPr lang="en-US" sz="17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1" name="Muenchen PKT"/>
          <p:cNvSpPr/>
          <p:nvPr/>
        </p:nvSpPr>
        <p:spPr bwMode="gray">
          <a:xfrm>
            <a:off x="11427381" y="5136675"/>
            <a:ext cx="144000" cy="1440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8" rIns="91422" bIns="45718" rtlCol="0" anchor="ctr"/>
          <a:lstStyle/>
          <a:p>
            <a:pPr algn="ctr"/>
            <a:endParaRPr lang="en-US" sz="17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2" name="Muenchen PKT"/>
          <p:cNvSpPr/>
          <p:nvPr/>
        </p:nvSpPr>
        <p:spPr bwMode="gray">
          <a:xfrm>
            <a:off x="7836100" y="5154675"/>
            <a:ext cx="108000" cy="1080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8" rIns="91422" bIns="45718" rtlCol="0" anchor="ctr"/>
          <a:lstStyle/>
          <a:p>
            <a:pPr algn="ctr"/>
            <a:endParaRPr lang="en-US" sz="17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3" name="Textplatzhalter 3"/>
          <p:cNvSpPr txBox="1">
            <a:spLocks/>
          </p:cNvSpPr>
          <p:nvPr/>
        </p:nvSpPr>
        <p:spPr bwMode="gray">
          <a:xfrm>
            <a:off x="1835612" y="5561456"/>
            <a:ext cx="1335130" cy="456029"/>
          </a:xfrm>
          <a:prstGeom prst="round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34" name="Textplatzhalter 3"/>
          <p:cNvSpPr txBox="1">
            <a:spLocks/>
          </p:cNvSpPr>
          <p:nvPr/>
        </p:nvSpPr>
        <p:spPr bwMode="gray">
          <a:xfrm>
            <a:off x="5426894" y="5561456"/>
            <a:ext cx="1335130" cy="456029"/>
          </a:xfrm>
          <a:prstGeom prst="round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35" name="Textplatzhalter 3"/>
          <p:cNvSpPr txBox="1">
            <a:spLocks/>
          </p:cNvSpPr>
          <p:nvPr/>
        </p:nvSpPr>
        <p:spPr bwMode="gray">
          <a:xfrm>
            <a:off x="9018175" y="5561456"/>
            <a:ext cx="1335130" cy="456029"/>
          </a:xfrm>
          <a:prstGeom prst="round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36" name="Text Placeholder 6"/>
          <p:cNvSpPr txBox="1">
            <a:spLocks/>
          </p:cNvSpPr>
          <p:nvPr/>
        </p:nvSpPr>
        <p:spPr bwMode="gray">
          <a:xfrm>
            <a:off x="891405" y="4732707"/>
            <a:ext cx="2700000" cy="180000"/>
          </a:xfrm>
          <a:prstGeom prst="rect">
            <a:avLst/>
          </a:prstGeom>
          <a:solidFill>
            <a:srgbClr val="B3E900"/>
          </a:soli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buClr>
                <a:schemeClr val="bg2"/>
              </a:buClr>
              <a:buNone/>
            </a:pPr>
            <a:endParaRPr lang="en-US" sz="14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7" name="Text Placeholder 6"/>
          <p:cNvSpPr txBox="1">
            <a:spLocks/>
          </p:cNvSpPr>
          <p:nvPr/>
        </p:nvSpPr>
        <p:spPr bwMode="gray">
          <a:xfrm>
            <a:off x="3442672" y="4498209"/>
            <a:ext cx="3384000" cy="180000"/>
          </a:xfrm>
          <a:prstGeom prst="rect">
            <a:avLst/>
          </a:prstGeom>
          <a:solidFill>
            <a:srgbClr val="B3E900"/>
          </a:soli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buClr>
                <a:schemeClr val="bg2"/>
              </a:buClr>
              <a:buNone/>
            </a:pPr>
            <a:endParaRPr lang="en-US" sz="14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8" name="Text Placeholder 6"/>
          <p:cNvSpPr txBox="1">
            <a:spLocks/>
          </p:cNvSpPr>
          <p:nvPr/>
        </p:nvSpPr>
        <p:spPr bwMode="gray">
          <a:xfrm>
            <a:off x="6677939" y="4263711"/>
            <a:ext cx="4680000" cy="180000"/>
          </a:xfrm>
          <a:prstGeom prst="rect">
            <a:avLst/>
          </a:prstGeom>
          <a:solidFill>
            <a:srgbClr val="B3E900"/>
          </a:soli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buClr>
                <a:schemeClr val="bg2"/>
              </a:buClr>
              <a:buNone/>
            </a:pPr>
            <a:endParaRPr lang="en-US" sz="14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9" name="Textplatzhalter 3"/>
          <p:cNvSpPr txBox="1">
            <a:spLocks/>
          </p:cNvSpPr>
          <p:nvPr/>
        </p:nvSpPr>
        <p:spPr bwMode="gray">
          <a:xfrm>
            <a:off x="1066800" y="3123254"/>
            <a:ext cx="2103942" cy="110391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2" indent="-180000"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180000" lvl="2" indent="-180000"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41" name="Line 20"/>
          <p:cNvSpPr>
            <a:spLocks noChangeShapeType="1"/>
          </p:cNvSpPr>
          <p:nvPr/>
        </p:nvSpPr>
        <p:spPr bwMode="gray">
          <a:xfrm flipV="1">
            <a:off x="3449815" y="2266846"/>
            <a:ext cx="0" cy="223200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2" name="Textplatzhalter 3"/>
          <p:cNvSpPr txBox="1">
            <a:spLocks/>
          </p:cNvSpPr>
          <p:nvPr/>
        </p:nvSpPr>
        <p:spPr bwMode="gray">
          <a:xfrm>
            <a:off x="3618067" y="2545613"/>
            <a:ext cx="2103942" cy="110391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2" indent="-180000"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180000" lvl="2" indent="-180000"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44" name="Line 20"/>
          <p:cNvSpPr>
            <a:spLocks noChangeShapeType="1"/>
          </p:cNvSpPr>
          <p:nvPr/>
        </p:nvSpPr>
        <p:spPr bwMode="gray">
          <a:xfrm flipV="1">
            <a:off x="6684132" y="1740573"/>
            <a:ext cx="0" cy="252000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5" name="Textplatzhalter 3"/>
          <p:cNvSpPr txBox="1">
            <a:spLocks/>
          </p:cNvSpPr>
          <p:nvPr/>
        </p:nvSpPr>
        <p:spPr bwMode="gray">
          <a:xfrm>
            <a:off x="6852384" y="2019340"/>
            <a:ext cx="2103942" cy="110391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2" indent="-180000"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180000" lvl="2" indent="-180000"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grpSp>
        <p:nvGrpSpPr>
          <p:cNvPr id="46" name="Group 45"/>
          <p:cNvGrpSpPr/>
          <p:nvPr/>
        </p:nvGrpSpPr>
        <p:grpSpPr>
          <a:xfrm rot="10800000">
            <a:off x="2341253" y="5327948"/>
            <a:ext cx="323850" cy="323850"/>
            <a:chOff x="428846" y="1801019"/>
            <a:chExt cx="323850" cy="323850"/>
          </a:xfrm>
        </p:grpSpPr>
        <p:sp>
          <p:nvSpPr>
            <p:cNvPr id="47" name="Oval 46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Chevron 47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 rot="10800000">
            <a:off x="5932535" y="5327948"/>
            <a:ext cx="323850" cy="323850"/>
            <a:chOff x="428846" y="1801019"/>
            <a:chExt cx="323850" cy="323850"/>
          </a:xfrm>
        </p:grpSpPr>
        <p:sp>
          <p:nvSpPr>
            <p:cNvPr id="50" name="Oval 49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Chevron 50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 rot="10800000">
            <a:off x="9523815" y="5327948"/>
            <a:ext cx="323850" cy="323850"/>
            <a:chOff x="428846" y="1801019"/>
            <a:chExt cx="323850" cy="323850"/>
          </a:xfrm>
        </p:grpSpPr>
        <p:sp>
          <p:nvSpPr>
            <p:cNvPr id="53" name="Oval 52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Chevron 53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5" name="Textplatzhalter 3"/>
          <p:cNvSpPr txBox="1">
            <a:spLocks/>
          </p:cNvSpPr>
          <p:nvPr/>
        </p:nvSpPr>
        <p:spPr bwMode="gray">
          <a:xfrm>
            <a:off x="836636" y="2685064"/>
            <a:ext cx="1868170" cy="349925"/>
          </a:xfrm>
          <a:prstGeom prst="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</p:spPr>
        <p:txBody>
          <a:bodyPr vert="horz" lIns="144000" tIns="72000" rIns="72000" bIns="7200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cap="all" dirty="0">
                <a:solidFill>
                  <a:schemeClr val="bg2"/>
                </a:solidFill>
                <a:cs typeface="Arial" panose="020B0604020202020204" pitchFamily="34" charset="0"/>
              </a:rPr>
              <a:t>PERIOD 1</a:t>
            </a:r>
            <a:endParaRPr lang="en-US" sz="1400" b="1" cap="all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40" name="Textplatzhalter 3"/>
          <p:cNvSpPr txBox="1">
            <a:spLocks/>
          </p:cNvSpPr>
          <p:nvPr/>
        </p:nvSpPr>
        <p:spPr bwMode="gray">
          <a:xfrm>
            <a:off x="3383140" y="2107423"/>
            <a:ext cx="1868170" cy="349925"/>
          </a:xfrm>
          <a:prstGeom prst="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</p:spPr>
        <p:txBody>
          <a:bodyPr vert="horz" lIns="144000" tIns="72000" rIns="72000" bIns="7200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cap="all" dirty="0">
                <a:solidFill>
                  <a:schemeClr val="bg2"/>
                </a:solidFill>
                <a:cs typeface="Arial" panose="020B0604020202020204" pitchFamily="34" charset="0"/>
              </a:rPr>
              <a:t>PERIOD 2</a:t>
            </a:r>
            <a:endParaRPr lang="en-US" sz="1400" b="1" cap="all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43" name="Textplatzhalter 3"/>
          <p:cNvSpPr txBox="1">
            <a:spLocks/>
          </p:cNvSpPr>
          <p:nvPr/>
        </p:nvSpPr>
        <p:spPr bwMode="gray">
          <a:xfrm>
            <a:off x="6622220" y="1581150"/>
            <a:ext cx="1868170" cy="349925"/>
          </a:xfrm>
          <a:prstGeom prst="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</p:spPr>
        <p:txBody>
          <a:bodyPr vert="horz" lIns="144000" tIns="72000" rIns="72000" bIns="7200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cap="all" dirty="0">
                <a:solidFill>
                  <a:schemeClr val="bg2"/>
                </a:solidFill>
                <a:cs typeface="Arial" panose="020B0604020202020204" pitchFamily="34" charset="0"/>
              </a:rPr>
              <a:t>PERIOD 3</a:t>
            </a:r>
            <a:endParaRPr lang="en-US" sz="1400" b="1" cap="all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3" name="Right Triangle 2"/>
          <p:cNvSpPr/>
          <p:nvPr/>
        </p:nvSpPr>
        <p:spPr>
          <a:xfrm flipH="1" flipV="1">
            <a:off x="3383140" y="2457348"/>
            <a:ext cx="59532" cy="88265"/>
          </a:xfrm>
          <a:prstGeom prst="rtTriangl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ight Triangle 55"/>
          <p:cNvSpPr/>
          <p:nvPr/>
        </p:nvSpPr>
        <p:spPr>
          <a:xfrm flipH="1" flipV="1">
            <a:off x="836636" y="3034989"/>
            <a:ext cx="59532" cy="88265"/>
          </a:xfrm>
          <a:prstGeom prst="rtTriangl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ight Triangle 56"/>
          <p:cNvSpPr/>
          <p:nvPr/>
        </p:nvSpPr>
        <p:spPr>
          <a:xfrm flipH="1" flipV="1">
            <a:off x="6618407" y="1931075"/>
            <a:ext cx="59532" cy="88265"/>
          </a:xfrm>
          <a:prstGeom prst="rtTriangl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7265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tents</a:t>
            </a:r>
          </a:p>
        </p:txBody>
      </p:sp>
      <p:sp>
        <p:nvSpPr>
          <p:cNvPr id="9" name="Oval 8"/>
          <p:cNvSpPr/>
          <p:nvPr/>
        </p:nvSpPr>
        <p:spPr>
          <a:xfrm>
            <a:off x="1466584" y="1907609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38612" y="1991439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Project Summary</a:t>
            </a:r>
          </a:p>
        </p:txBody>
      </p:sp>
      <p:sp>
        <p:nvSpPr>
          <p:cNvPr id="13" name="Oval 12"/>
          <p:cNvSpPr/>
          <p:nvPr/>
        </p:nvSpPr>
        <p:spPr>
          <a:xfrm>
            <a:off x="1466584" y="2862024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2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38612" y="2945854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Text slides</a:t>
            </a:r>
          </a:p>
        </p:txBody>
      </p:sp>
      <p:sp>
        <p:nvSpPr>
          <p:cNvPr id="16" name="Oval 15"/>
          <p:cNvSpPr/>
          <p:nvPr/>
        </p:nvSpPr>
        <p:spPr>
          <a:xfrm>
            <a:off x="1466584" y="3816439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</a:rPr>
              <a:t>03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38612" y="3900269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Image slides</a:t>
            </a:r>
          </a:p>
        </p:txBody>
      </p:sp>
      <p:sp>
        <p:nvSpPr>
          <p:cNvPr id="19" name="Oval 18"/>
          <p:cNvSpPr/>
          <p:nvPr/>
        </p:nvSpPr>
        <p:spPr>
          <a:xfrm>
            <a:off x="1466584" y="4770853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</a:rPr>
              <a:t>04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38612" y="4854683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Diagram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1466584" y="2668702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466584" y="3623117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1466584" y="4577532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/>
          <p:cNvSpPr/>
          <p:nvPr/>
        </p:nvSpPr>
        <p:spPr>
          <a:xfrm>
            <a:off x="5806520" y="1907609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</a:rPr>
              <a:t>05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578548" y="1991439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Tables and Timetables</a:t>
            </a:r>
          </a:p>
        </p:txBody>
      </p:sp>
      <p:sp>
        <p:nvSpPr>
          <p:cNvPr id="42" name="Oval 41"/>
          <p:cNvSpPr/>
          <p:nvPr/>
        </p:nvSpPr>
        <p:spPr>
          <a:xfrm>
            <a:off x="5806520" y="2862024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</a:rPr>
              <a:t>06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578548" y="2945854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Gantt Chart &amp; timetables</a:t>
            </a:r>
          </a:p>
        </p:txBody>
      </p:sp>
      <p:sp>
        <p:nvSpPr>
          <p:cNvPr id="45" name="Oval 44"/>
          <p:cNvSpPr/>
          <p:nvPr/>
        </p:nvSpPr>
        <p:spPr>
          <a:xfrm>
            <a:off x="5806520" y="3816439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7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578548" y="3900269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Data tables</a:t>
            </a:r>
          </a:p>
        </p:txBody>
      </p:sp>
      <p:sp>
        <p:nvSpPr>
          <p:cNvPr id="48" name="Oval 47"/>
          <p:cNvSpPr/>
          <p:nvPr/>
        </p:nvSpPr>
        <p:spPr>
          <a:xfrm>
            <a:off x="5806520" y="4770853"/>
            <a:ext cx="567771" cy="567771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</a:rPr>
              <a:t>08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578548" y="4854683"/>
            <a:ext cx="4145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Flow diagrams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5806520" y="2668702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5806520" y="3623117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5806520" y="4577532"/>
            <a:ext cx="365646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2503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cess char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0" name="Text Placeholder 17"/>
          <p:cNvSpPr txBox="1">
            <a:spLocks/>
          </p:cNvSpPr>
          <p:nvPr/>
        </p:nvSpPr>
        <p:spPr bwMode="gray">
          <a:xfrm>
            <a:off x="4192682" y="3346840"/>
            <a:ext cx="2015982" cy="951392"/>
          </a:xfrm>
          <a:prstGeom prst="chevron">
            <a:avLst>
              <a:gd name="adj" fmla="val 37645"/>
            </a:avLst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lIns="108000" tIns="72000" rIns="108000" bIns="72000" anchor="ctr"/>
          <a:lstStyle>
            <a:lvl1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cs typeface="Arial" panose="020B0604020202020204" pitchFamily="34" charset="0"/>
              </a:rPr>
              <a:t>ACTIVITY 3</a:t>
            </a:r>
          </a:p>
        </p:txBody>
      </p:sp>
      <p:sp>
        <p:nvSpPr>
          <p:cNvPr id="81" name="Text Placeholder 17"/>
          <p:cNvSpPr txBox="1">
            <a:spLocks/>
          </p:cNvSpPr>
          <p:nvPr/>
        </p:nvSpPr>
        <p:spPr bwMode="gray">
          <a:xfrm>
            <a:off x="2405109" y="3346840"/>
            <a:ext cx="2015982" cy="951392"/>
          </a:xfrm>
          <a:prstGeom prst="chevron">
            <a:avLst>
              <a:gd name="adj" fmla="val 37645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  <a:ln w="50800">
            <a:noFill/>
          </a:ln>
        </p:spPr>
        <p:txBody>
          <a:bodyPr lIns="108000" tIns="72000" rIns="108000" bIns="72000" anchor="ctr"/>
          <a:lstStyle>
            <a:lvl1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accent1"/>
                </a:solidFill>
                <a:cs typeface="Arial" panose="020B0604020202020204" pitchFamily="34" charset="0"/>
              </a:rPr>
              <a:t>ACTIVITY 2</a:t>
            </a:r>
          </a:p>
        </p:txBody>
      </p:sp>
      <p:sp>
        <p:nvSpPr>
          <p:cNvPr id="82" name="Text Placeholder 17"/>
          <p:cNvSpPr txBox="1">
            <a:spLocks/>
          </p:cNvSpPr>
          <p:nvPr/>
        </p:nvSpPr>
        <p:spPr bwMode="gray">
          <a:xfrm>
            <a:off x="617538" y="3346840"/>
            <a:ext cx="2015982" cy="951392"/>
          </a:xfrm>
          <a:prstGeom prst="homePlate">
            <a:avLst>
              <a:gd name="adj" fmla="val 38539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  <a:ln w="50800">
            <a:noFill/>
          </a:ln>
        </p:spPr>
        <p:txBody>
          <a:bodyPr lIns="108000" tIns="72000" rIns="108000" bIns="72000" anchor="ctr"/>
          <a:lstStyle>
            <a:lvl1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accent1"/>
                </a:solidFill>
                <a:cs typeface="Arial" panose="020B0604020202020204" pitchFamily="34" charset="0"/>
              </a:rPr>
              <a:t>ACTIVITY 1</a:t>
            </a:r>
          </a:p>
        </p:txBody>
      </p:sp>
      <p:sp>
        <p:nvSpPr>
          <p:cNvPr id="83" name="Text Placeholder 17"/>
          <p:cNvSpPr txBox="1">
            <a:spLocks/>
          </p:cNvSpPr>
          <p:nvPr/>
        </p:nvSpPr>
        <p:spPr bwMode="gray">
          <a:xfrm>
            <a:off x="7767826" y="3346840"/>
            <a:ext cx="2015982" cy="951392"/>
          </a:xfrm>
          <a:prstGeom prst="chevron">
            <a:avLst>
              <a:gd name="adj" fmla="val 37645"/>
            </a:avLst>
          </a:prstGeom>
          <a:gradFill>
            <a:gsLst>
              <a:gs pos="0">
                <a:schemeClr val="accent4">
                  <a:lumMod val="50000"/>
                </a:schemeClr>
              </a:gs>
              <a:gs pos="100000">
                <a:schemeClr val="accent4"/>
              </a:gs>
            </a:gsLst>
            <a:lin ang="5400000" scaled="0"/>
          </a:gradFill>
          <a:ln w="50800">
            <a:noFill/>
          </a:ln>
        </p:spPr>
        <p:txBody>
          <a:bodyPr lIns="108000" tIns="72000" rIns="108000" bIns="72000" anchor="ctr"/>
          <a:lstStyle>
            <a:lvl1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cs typeface="Arial" panose="020B0604020202020204" pitchFamily="34" charset="0"/>
              </a:rPr>
              <a:t>ACTIVITY 5</a:t>
            </a:r>
          </a:p>
        </p:txBody>
      </p:sp>
      <p:sp>
        <p:nvSpPr>
          <p:cNvPr id="84" name="Text Placeholder 17"/>
          <p:cNvSpPr txBox="1">
            <a:spLocks/>
          </p:cNvSpPr>
          <p:nvPr/>
        </p:nvSpPr>
        <p:spPr bwMode="gray">
          <a:xfrm>
            <a:off x="5980254" y="3346840"/>
            <a:ext cx="2015982" cy="951392"/>
          </a:xfrm>
          <a:prstGeom prst="chevron">
            <a:avLst>
              <a:gd name="adj" fmla="val 37645"/>
            </a:avLst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lIns="108000" tIns="72000" rIns="108000" bIns="72000" anchor="ctr"/>
          <a:lstStyle>
            <a:lvl1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cs typeface="Arial" panose="020B0604020202020204" pitchFamily="34" charset="0"/>
              </a:rPr>
              <a:t>ACTIVITY 4</a:t>
            </a:r>
          </a:p>
        </p:txBody>
      </p:sp>
      <p:sp>
        <p:nvSpPr>
          <p:cNvPr id="85" name="Line 19"/>
          <p:cNvSpPr>
            <a:spLocks noChangeShapeType="1"/>
          </p:cNvSpPr>
          <p:nvPr/>
        </p:nvSpPr>
        <p:spPr bwMode="gray">
          <a:xfrm flipV="1">
            <a:off x="4224496" y="1422468"/>
            <a:ext cx="0" cy="1888219"/>
          </a:xfrm>
          <a:prstGeom prst="line">
            <a:avLst/>
          </a:prstGeom>
          <a:solidFill>
            <a:schemeClr val="tx2"/>
          </a:solidFill>
          <a:ln w="9525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86" name="Line 20"/>
          <p:cNvSpPr>
            <a:spLocks noChangeShapeType="1"/>
          </p:cNvSpPr>
          <p:nvPr/>
        </p:nvSpPr>
        <p:spPr bwMode="gray">
          <a:xfrm flipV="1">
            <a:off x="617538" y="1422468"/>
            <a:ext cx="0" cy="1888219"/>
          </a:xfrm>
          <a:prstGeom prst="line">
            <a:avLst/>
          </a:prstGeom>
          <a:solidFill>
            <a:schemeClr val="tx2"/>
          </a:solidFill>
          <a:ln w="9525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87" name="Line 15"/>
          <p:cNvSpPr>
            <a:spLocks noChangeShapeType="1"/>
          </p:cNvSpPr>
          <p:nvPr/>
        </p:nvSpPr>
        <p:spPr bwMode="gray">
          <a:xfrm>
            <a:off x="2407725" y="4334381"/>
            <a:ext cx="0" cy="1895985"/>
          </a:xfrm>
          <a:prstGeom prst="line">
            <a:avLst/>
          </a:prstGeom>
          <a:solidFill>
            <a:schemeClr val="tx2"/>
          </a:solidFill>
          <a:ln w="9525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88" name="Text Placeholder 6"/>
          <p:cNvSpPr txBox="1">
            <a:spLocks/>
          </p:cNvSpPr>
          <p:nvPr/>
        </p:nvSpPr>
        <p:spPr bwMode="gray">
          <a:xfrm>
            <a:off x="815209" y="1763662"/>
            <a:ext cx="3311434" cy="646331"/>
          </a:xfrm>
          <a:prstGeom prst="rect">
            <a:avLst/>
          </a:prstGeom>
          <a:noFill/>
        </p:spPr>
        <p:txBody>
          <a:bodyPr lIns="108000" tIns="0" rIns="108000" bIns="0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cs typeface="Arial" panose="020B0604020202020204" pitchFamily="34" charset="0"/>
              </a:rPr>
              <a:t>Replace this blurb with other details. All phrases can be replaced with your own text.</a:t>
            </a:r>
          </a:p>
        </p:txBody>
      </p:sp>
      <p:sp>
        <p:nvSpPr>
          <p:cNvPr id="89" name="Text Placeholder 6"/>
          <p:cNvSpPr txBox="1">
            <a:spLocks/>
          </p:cNvSpPr>
          <p:nvPr/>
        </p:nvSpPr>
        <p:spPr bwMode="gray">
          <a:xfrm>
            <a:off x="4422165" y="1763662"/>
            <a:ext cx="3311434" cy="646331"/>
          </a:xfrm>
          <a:prstGeom prst="rect">
            <a:avLst/>
          </a:prstGeom>
          <a:noFill/>
        </p:spPr>
        <p:txBody>
          <a:bodyPr lIns="108000" tIns="0" rIns="108000" bIns="0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cs typeface="Arial" panose="020B0604020202020204" pitchFamily="34" charset="0"/>
              </a:rPr>
              <a:t>Replace this blurb with other details. All phrases can be replaced with your own text.</a:t>
            </a:r>
          </a:p>
        </p:txBody>
      </p:sp>
      <p:sp>
        <p:nvSpPr>
          <p:cNvPr id="90" name="Text Placeholder 6"/>
          <p:cNvSpPr txBox="1">
            <a:spLocks/>
          </p:cNvSpPr>
          <p:nvPr/>
        </p:nvSpPr>
        <p:spPr bwMode="gray">
          <a:xfrm>
            <a:off x="2546776" y="5468241"/>
            <a:ext cx="3311434" cy="646331"/>
          </a:xfrm>
          <a:prstGeom prst="rect">
            <a:avLst/>
          </a:prstGeom>
          <a:noFill/>
        </p:spPr>
        <p:txBody>
          <a:bodyPr lIns="108000" tIns="0" rIns="108000" bIns="0" anchor="b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cs typeface="Arial" panose="020B0604020202020204" pitchFamily="34" charset="0"/>
              </a:rPr>
              <a:t>Replace this blurb with other details. All phrases can be replaced with your own text.</a:t>
            </a:r>
          </a:p>
        </p:txBody>
      </p:sp>
      <p:sp>
        <p:nvSpPr>
          <p:cNvPr id="96" name="Line 15"/>
          <p:cNvSpPr>
            <a:spLocks noChangeShapeType="1"/>
          </p:cNvSpPr>
          <p:nvPr/>
        </p:nvSpPr>
        <p:spPr bwMode="gray">
          <a:xfrm>
            <a:off x="5973481" y="4334381"/>
            <a:ext cx="0" cy="1895985"/>
          </a:xfrm>
          <a:prstGeom prst="line">
            <a:avLst/>
          </a:prstGeom>
          <a:solidFill>
            <a:schemeClr val="tx2"/>
          </a:solidFill>
          <a:ln w="9525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97" name="Text Placeholder 6"/>
          <p:cNvSpPr txBox="1">
            <a:spLocks/>
          </p:cNvSpPr>
          <p:nvPr/>
        </p:nvSpPr>
        <p:spPr bwMode="gray">
          <a:xfrm>
            <a:off x="6112531" y="5468241"/>
            <a:ext cx="3311434" cy="646331"/>
          </a:xfrm>
          <a:prstGeom prst="rect">
            <a:avLst/>
          </a:prstGeom>
          <a:noFill/>
        </p:spPr>
        <p:txBody>
          <a:bodyPr lIns="108000" tIns="0" rIns="108000" bIns="0" anchor="b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cs typeface="Arial" panose="020B0604020202020204" pitchFamily="34" charset="0"/>
              </a:rPr>
              <a:t>Replace this blurb with other details. All phrases can be replaced with your own text.</a:t>
            </a:r>
          </a:p>
        </p:txBody>
      </p:sp>
      <p:sp>
        <p:nvSpPr>
          <p:cNvPr id="98" name="Line 19"/>
          <p:cNvSpPr>
            <a:spLocks noChangeShapeType="1"/>
          </p:cNvSpPr>
          <p:nvPr/>
        </p:nvSpPr>
        <p:spPr bwMode="gray">
          <a:xfrm flipV="1">
            <a:off x="7768248" y="1422468"/>
            <a:ext cx="0" cy="1888219"/>
          </a:xfrm>
          <a:prstGeom prst="line">
            <a:avLst/>
          </a:prstGeom>
          <a:solidFill>
            <a:schemeClr val="tx2"/>
          </a:solidFill>
          <a:ln w="9525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0" name="Text Placeholder 17"/>
          <p:cNvSpPr txBox="1">
            <a:spLocks/>
          </p:cNvSpPr>
          <p:nvPr/>
        </p:nvSpPr>
        <p:spPr bwMode="gray">
          <a:xfrm>
            <a:off x="9555397" y="3346840"/>
            <a:ext cx="2015982" cy="951392"/>
          </a:xfrm>
          <a:prstGeom prst="chevron">
            <a:avLst>
              <a:gd name="adj" fmla="val 37645"/>
            </a:avLst>
          </a:prstGeom>
          <a:gradFill>
            <a:gsLst>
              <a:gs pos="0">
                <a:schemeClr val="accent4">
                  <a:lumMod val="50000"/>
                </a:schemeClr>
              </a:gs>
              <a:gs pos="100000">
                <a:schemeClr val="accent4"/>
              </a:gs>
            </a:gsLst>
            <a:lin ang="5400000" scaled="0"/>
          </a:gradFill>
          <a:ln w="50800">
            <a:noFill/>
          </a:ln>
        </p:spPr>
        <p:txBody>
          <a:bodyPr lIns="108000" tIns="72000" rIns="108000" bIns="72000" anchor="ctr"/>
          <a:lstStyle>
            <a:lvl1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defRPr sz="12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1221456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10000"/>
              <a:buFont typeface="Arial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cs typeface="Arial" panose="020B0604020202020204" pitchFamily="34" charset="0"/>
              </a:rPr>
              <a:t>ACTIVITY 6</a:t>
            </a:r>
          </a:p>
        </p:txBody>
      </p:sp>
      <p:sp>
        <p:nvSpPr>
          <p:cNvPr id="101" name="Text Placeholder 6"/>
          <p:cNvSpPr txBox="1">
            <a:spLocks/>
          </p:cNvSpPr>
          <p:nvPr/>
        </p:nvSpPr>
        <p:spPr bwMode="gray">
          <a:xfrm>
            <a:off x="7965917" y="1763662"/>
            <a:ext cx="3311434" cy="646331"/>
          </a:xfrm>
          <a:prstGeom prst="rect">
            <a:avLst/>
          </a:prstGeom>
          <a:noFill/>
        </p:spPr>
        <p:txBody>
          <a:bodyPr lIns="108000" tIns="0" rIns="108000" bIns="0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cs typeface="Arial" panose="020B0604020202020204" pitchFamily="34" charset="0"/>
              </a:rPr>
              <a:t>Replace this blurb with other details. All phrases can be replaced with your own text.</a:t>
            </a:r>
          </a:p>
        </p:txBody>
      </p:sp>
      <p:sp>
        <p:nvSpPr>
          <p:cNvPr id="102" name="Line 15"/>
          <p:cNvSpPr>
            <a:spLocks noChangeShapeType="1"/>
          </p:cNvSpPr>
          <p:nvPr/>
        </p:nvSpPr>
        <p:spPr bwMode="gray">
          <a:xfrm>
            <a:off x="9548282" y="4334381"/>
            <a:ext cx="0" cy="1895985"/>
          </a:xfrm>
          <a:prstGeom prst="line">
            <a:avLst/>
          </a:prstGeom>
          <a:solidFill>
            <a:schemeClr val="tx2"/>
          </a:solidFill>
          <a:ln w="9525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04" name="Text Placeholder 6"/>
          <p:cNvSpPr txBox="1">
            <a:spLocks/>
          </p:cNvSpPr>
          <p:nvPr/>
        </p:nvSpPr>
        <p:spPr bwMode="gray">
          <a:xfrm>
            <a:off x="9687335" y="5252798"/>
            <a:ext cx="1987162" cy="861774"/>
          </a:xfrm>
          <a:prstGeom prst="rect">
            <a:avLst/>
          </a:prstGeom>
          <a:noFill/>
        </p:spPr>
        <p:txBody>
          <a:bodyPr lIns="108000" tIns="0" rIns="108000" bIns="0" anchor="b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cs typeface="Arial" panose="020B0604020202020204" pitchFamily="34" charset="0"/>
              </a:rPr>
              <a:t>Replace this blurb with other details. All phrases can be replaced with your own text.</a:t>
            </a:r>
          </a:p>
        </p:txBody>
      </p:sp>
    </p:spTree>
    <p:extLst>
      <p:ext uri="{BB962C8B-B14F-4D97-AF65-F5344CB8AC3E}">
        <p14:creationId xmlns:p14="http://schemas.microsoft.com/office/powerpoint/2010/main" val="27270002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hase Selection Proc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1</a:t>
            </a:fld>
            <a:endParaRPr lang="en-US" dirty="0"/>
          </a:p>
        </p:txBody>
      </p:sp>
      <p:grpSp>
        <p:nvGrpSpPr>
          <p:cNvPr id="43" name="Gruppieren 15"/>
          <p:cNvGrpSpPr/>
          <p:nvPr/>
        </p:nvGrpSpPr>
        <p:grpSpPr bwMode="gray">
          <a:xfrm>
            <a:off x="617538" y="2843497"/>
            <a:ext cx="10937205" cy="2665431"/>
            <a:chOff x="877056" y="2225615"/>
            <a:chExt cx="10436300" cy="2543360"/>
          </a:xfrm>
        </p:grpSpPr>
        <p:sp>
          <p:nvSpPr>
            <p:cNvPr id="49" name="Oval 6"/>
            <p:cNvSpPr>
              <a:spLocks noChangeArrowheads="1"/>
            </p:cNvSpPr>
            <p:nvPr/>
          </p:nvSpPr>
          <p:spPr bwMode="gray">
            <a:xfrm>
              <a:off x="877056" y="2225615"/>
              <a:ext cx="1336378" cy="2543360"/>
            </a:xfrm>
            <a:prstGeom prst="ellipse">
              <a:avLst/>
            </a:prstGeom>
            <a:solidFill>
              <a:schemeClr val="accent2">
                <a:alpha val="74000"/>
              </a:schemeClr>
            </a:solidFill>
            <a:ln w="3175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endParaRPr lang="en-GB" kern="0" dirty="0">
                <a:solidFill>
                  <a:srgbClr val="4D4E5C">
                    <a:lumMod val="75000"/>
                    <a:lumOff val="25000"/>
                  </a:srgbClr>
                </a:solidFill>
                <a:latin typeface="Arial" pitchFamily="34" charset="0"/>
                <a:ea typeface="Open Sans" panose="020B0606030504020204" pitchFamily="34" charset="0"/>
                <a:cs typeface="Arial" pitchFamily="34" charset="0"/>
              </a:endParaRPr>
            </a:p>
          </p:txBody>
        </p:sp>
        <p:sp>
          <p:nvSpPr>
            <p:cNvPr id="53" name="Oval 7"/>
            <p:cNvSpPr>
              <a:spLocks noChangeArrowheads="1"/>
            </p:cNvSpPr>
            <p:nvPr/>
          </p:nvSpPr>
          <p:spPr bwMode="gray">
            <a:xfrm>
              <a:off x="1542392" y="2251129"/>
              <a:ext cx="9770963" cy="2517846"/>
            </a:xfrm>
            <a:custGeom>
              <a:avLst/>
              <a:gdLst/>
              <a:ahLst/>
              <a:cxnLst/>
              <a:rect l="l" t="t" r="r" b="b"/>
              <a:pathLst>
                <a:path w="7955384" h="2565998">
                  <a:moveTo>
                    <a:pt x="0" y="2565719"/>
                  </a:moveTo>
                  <a:lnTo>
                    <a:pt x="775" y="2565812"/>
                  </a:lnTo>
                  <a:lnTo>
                    <a:pt x="0" y="2565998"/>
                  </a:lnTo>
                  <a:close/>
                  <a:moveTo>
                    <a:pt x="111061" y="0"/>
                  </a:moveTo>
                  <a:cubicBezTo>
                    <a:pt x="773359" y="152323"/>
                    <a:pt x="4292339" y="921527"/>
                    <a:pt x="7808347" y="921527"/>
                  </a:cubicBezTo>
                  <a:lnTo>
                    <a:pt x="7808347" y="921993"/>
                  </a:lnTo>
                  <a:cubicBezTo>
                    <a:pt x="7808604" y="921809"/>
                    <a:pt x="7808863" y="921807"/>
                    <a:pt x="7809122" y="921807"/>
                  </a:cubicBezTo>
                  <a:cubicBezTo>
                    <a:pt x="7889900" y="921807"/>
                    <a:pt x="7955384" y="1077698"/>
                    <a:pt x="7955384" y="1269999"/>
                  </a:cubicBezTo>
                  <a:cubicBezTo>
                    <a:pt x="7955384" y="1462300"/>
                    <a:pt x="7889900" y="1618191"/>
                    <a:pt x="7809122" y="1618191"/>
                  </a:cubicBezTo>
                  <a:lnTo>
                    <a:pt x="7808347" y="1618005"/>
                  </a:lnTo>
                  <a:cubicBezTo>
                    <a:pt x="7808347" y="1618160"/>
                    <a:pt x="7808347" y="1618315"/>
                    <a:pt x="7808347" y="1618470"/>
                  </a:cubicBezTo>
                  <a:cubicBezTo>
                    <a:pt x="4292339" y="1618470"/>
                    <a:pt x="773359" y="2387673"/>
                    <a:pt x="111061" y="2539996"/>
                  </a:cubicBezTo>
                  <a:cubicBezTo>
                    <a:pt x="359438" y="2420028"/>
                    <a:pt x="546353" y="1897012"/>
                    <a:pt x="546353" y="1269998"/>
                  </a:cubicBezTo>
                  <a:cubicBezTo>
                    <a:pt x="546353" y="642984"/>
                    <a:pt x="359438" y="119968"/>
                    <a:pt x="111061" y="0"/>
                  </a:cubicBezTo>
                  <a:close/>
                </a:path>
              </a:pathLst>
            </a:custGeom>
            <a:solidFill>
              <a:schemeClr val="accent4">
                <a:alpha val="40000"/>
              </a:schemeClr>
            </a:solidFill>
            <a:ln w="3175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endParaRPr lang="en-GB" kern="0" dirty="0">
                <a:solidFill>
                  <a:srgbClr val="4D4E5C">
                    <a:lumMod val="75000"/>
                    <a:lumOff val="25000"/>
                  </a:srgbClr>
                </a:solidFill>
                <a:latin typeface="Arial" pitchFamily="34" charset="0"/>
                <a:ea typeface="Open Sans" panose="020B0606030504020204" pitchFamily="34" charset="0"/>
                <a:cs typeface="Arial" pitchFamily="34" charset="0"/>
              </a:endParaRPr>
            </a:p>
          </p:txBody>
        </p:sp>
        <p:sp>
          <p:nvSpPr>
            <p:cNvPr id="54" name="Oval 7"/>
            <p:cNvSpPr>
              <a:spLocks noChangeArrowheads="1"/>
            </p:cNvSpPr>
            <p:nvPr/>
          </p:nvSpPr>
          <p:spPr bwMode="gray">
            <a:xfrm>
              <a:off x="1618537" y="2243044"/>
              <a:ext cx="9694819" cy="2517314"/>
            </a:xfrm>
            <a:custGeom>
              <a:avLst/>
              <a:gdLst>
                <a:gd name="connsiteX0" fmla="*/ 0 w 7955384"/>
                <a:gd name="connsiteY0" fmla="*/ 2673292 h 2673571"/>
                <a:gd name="connsiteX1" fmla="*/ 775 w 7955384"/>
                <a:gd name="connsiteY1" fmla="*/ 2673385 h 2673571"/>
                <a:gd name="connsiteX2" fmla="*/ 0 w 7955384"/>
                <a:gd name="connsiteY2" fmla="*/ 2673571 h 2673571"/>
                <a:gd name="connsiteX3" fmla="*/ 0 w 7955384"/>
                <a:gd name="connsiteY3" fmla="*/ 2673292 h 2673571"/>
                <a:gd name="connsiteX4" fmla="*/ 111061 w 7955384"/>
                <a:gd name="connsiteY4" fmla="*/ 107573 h 2673571"/>
                <a:gd name="connsiteX5" fmla="*/ 7808347 w 7955384"/>
                <a:gd name="connsiteY5" fmla="*/ 1029100 h 2673571"/>
                <a:gd name="connsiteX6" fmla="*/ 7808347 w 7955384"/>
                <a:gd name="connsiteY6" fmla="*/ 1029566 h 2673571"/>
                <a:gd name="connsiteX7" fmla="*/ 7809122 w 7955384"/>
                <a:gd name="connsiteY7" fmla="*/ 1029380 h 2673571"/>
                <a:gd name="connsiteX8" fmla="*/ 7955384 w 7955384"/>
                <a:gd name="connsiteY8" fmla="*/ 1377572 h 2673571"/>
                <a:gd name="connsiteX9" fmla="*/ 7809122 w 7955384"/>
                <a:gd name="connsiteY9" fmla="*/ 1725764 h 2673571"/>
                <a:gd name="connsiteX10" fmla="*/ 7808347 w 7955384"/>
                <a:gd name="connsiteY10" fmla="*/ 1725578 h 2673571"/>
                <a:gd name="connsiteX11" fmla="*/ 7808347 w 7955384"/>
                <a:gd name="connsiteY11" fmla="*/ 1726043 h 2673571"/>
                <a:gd name="connsiteX12" fmla="*/ 111061 w 7955384"/>
                <a:gd name="connsiteY12" fmla="*/ 2647569 h 2673571"/>
                <a:gd name="connsiteX13" fmla="*/ 546353 w 7955384"/>
                <a:gd name="connsiteY13" fmla="*/ 1377571 h 2673571"/>
                <a:gd name="connsiteX14" fmla="*/ 441270 w 7955384"/>
                <a:gd name="connsiteY14" fmla="*/ 569373 h 2673571"/>
                <a:gd name="connsiteX15" fmla="*/ 111061 w 7955384"/>
                <a:gd name="connsiteY15" fmla="*/ 107573 h 2673571"/>
                <a:gd name="connsiteX0" fmla="*/ 353338 w 8308722"/>
                <a:gd name="connsiteY0" fmla="*/ 2673292 h 2673571"/>
                <a:gd name="connsiteX1" fmla="*/ 354113 w 8308722"/>
                <a:gd name="connsiteY1" fmla="*/ 2673385 h 2673571"/>
                <a:gd name="connsiteX2" fmla="*/ 353338 w 8308722"/>
                <a:gd name="connsiteY2" fmla="*/ 2673571 h 2673571"/>
                <a:gd name="connsiteX3" fmla="*/ 353338 w 8308722"/>
                <a:gd name="connsiteY3" fmla="*/ 2673292 h 2673571"/>
                <a:gd name="connsiteX4" fmla="*/ 464399 w 8308722"/>
                <a:gd name="connsiteY4" fmla="*/ 107573 h 2673571"/>
                <a:gd name="connsiteX5" fmla="*/ 8161685 w 8308722"/>
                <a:gd name="connsiteY5" fmla="*/ 1029100 h 2673571"/>
                <a:gd name="connsiteX6" fmla="*/ 8161685 w 8308722"/>
                <a:gd name="connsiteY6" fmla="*/ 1029566 h 2673571"/>
                <a:gd name="connsiteX7" fmla="*/ 8162460 w 8308722"/>
                <a:gd name="connsiteY7" fmla="*/ 1029380 h 2673571"/>
                <a:gd name="connsiteX8" fmla="*/ 8308722 w 8308722"/>
                <a:gd name="connsiteY8" fmla="*/ 1377572 h 2673571"/>
                <a:gd name="connsiteX9" fmla="*/ 8162460 w 8308722"/>
                <a:gd name="connsiteY9" fmla="*/ 1725764 h 2673571"/>
                <a:gd name="connsiteX10" fmla="*/ 8161685 w 8308722"/>
                <a:gd name="connsiteY10" fmla="*/ 1725578 h 2673571"/>
                <a:gd name="connsiteX11" fmla="*/ 8161685 w 8308722"/>
                <a:gd name="connsiteY11" fmla="*/ 1726043 h 2673571"/>
                <a:gd name="connsiteX12" fmla="*/ 464399 w 8308722"/>
                <a:gd name="connsiteY12" fmla="*/ 2647569 h 2673571"/>
                <a:gd name="connsiteX13" fmla="*/ 868097 w 8308722"/>
                <a:gd name="connsiteY13" fmla="*/ 1797694 h 2673571"/>
                <a:gd name="connsiteX14" fmla="*/ 899691 w 8308722"/>
                <a:gd name="connsiteY14" fmla="*/ 1377571 h 2673571"/>
                <a:gd name="connsiteX15" fmla="*/ 794608 w 8308722"/>
                <a:gd name="connsiteY15" fmla="*/ 569373 h 2673571"/>
                <a:gd name="connsiteX16" fmla="*/ 464399 w 8308722"/>
                <a:gd name="connsiteY16" fmla="*/ 107573 h 2673571"/>
                <a:gd name="connsiteX0" fmla="*/ 899691 w 8308722"/>
                <a:gd name="connsiteY0" fmla="*/ 1377571 h 2673571"/>
                <a:gd name="connsiteX1" fmla="*/ 794608 w 8308722"/>
                <a:gd name="connsiteY1" fmla="*/ 569373 h 2673571"/>
                <a:gd name="connsiteX2" fmla="*/ 464399 w 8308722"/>
                <a:gd name="connsiteY2" fmla="*/ 107573 h 2673571"/>
                <a:gd name="connsiteX3" fmla="*/ 354113 w 8308722"/>
                <a:gd name="connsiteY3" fmla="*/ 2673385 h 2673571"/>
                <a:gd name="connsiteX4" fmla="*/ 353338 w 8308722"/>
                <a:gd name="connsiteY4" fmla="*/ 2673571 h 2673571"/>
                <a:gd name="connsiteX5" fmla="*/ 353338 w 8308722"/>
                <a:gd name="connsiteY5" fmla="*/ 2673292 h 2673571"/>
                <a:gd name="connsiteX6" fmla="*/ 464399 w 8308722"/>
                <a:gd name="connsiteY6" fmla="*/ 107573 h 2673571"/>
                <a:gd name="connsiteX7" fmla="*/ 8161685 w 8308722"/>
                <a:gd name="connsiteY7" fmla="*/ 1029100 h 2673571"/>
                <a:gd name="connsiteX8" fmla="*/ 8161685 w 8308722"/>
                <a:gd name="connsiteY8" fmla="*/ 1029566 h 2673571"/>
                <a:gd name="connsiteX9" fmla="*/ 8162460 w 8308722"/>
                <a:gd name="connsiteY9" fmla="*/ 1029380 h 2673571"/>
                <a:gd name="connsiteX10" fmla="*/ 8308722 w 8308722"/>
                <a:gd name="connsiteY10" fmla="*/ 1377572 h 2673571"/>
                <a:gd name="connsiteX11" fmla="*/ 8162460 w 8308722"/>
                <a:gd name="connsiteY11" fmla="*/ 1725764 h 2673571"/>
                <a:gd name="connsiteX12" fmla="*/ 8161685 w 8308722"/>
                <a:gd name="connsiteY12" fmla="*/ 1725578 h 2673571"/>
                <a:gd name="connsiteX13" fmla="*/ 8161685 w 8308722"/>
                <a:gd name="connsiteY13" fmla="*/ 1726043 h 2673571"/>
                <a:gd name="connsiteX14" fmla="*/ 464399 w 8308722"/>
                <a:gd name="connsiteY14" fmla="*/ 2647569 h 2673571"/>
                <a:gd name="connsiteX15" fmla="*/ 868097 w 8308722"/>
                <a:gd name="connsiteY15" fmla="*/ 1797694 h 2673571"/>
                <a:gd name="connsiteX16" fmla="*/ 1000476 w 8308722"/>
                <a:gd name="connsiteY16" fmla="*/ 1478356 h 2673571"/>
                <a:gd name="connsiteX0" fmla="*/ 899691 w 8308722"/>
                <a:gd name="connsiteY0" fmla="*/ 1377571 h 2673571"/>
                <a:gd name="connsiteX1" fmla="*/ 794608 w 8308722"/>
                <a:gd name="connsiteY1" fmla="*/ 569373 h 2673571"/>
                <a:gd name="connsiteX2" fmla="*/ 464399 w 8308722"/>
                <a:gd name="connsiteY2" fmla="*/ 107573 h 2673571"/>
                <a:gd name="connsiteX3" fmla="*/ 354113 w 8308722"/>
                <a:gd name="connsiteY3" fmla="*/ 2673385 h 2673571"/>
                <a:gd name="connsiteX4" fmla="*/ 353338 w 8308722"/>
                <a:gd name="connsiteY4" fmla="*/ 2673571 h 2673571"/>
                <a:gd name="connsiteX5" fmla="*/ 353338 w 8308722"/>
                <a:gd name="connsiteY5" fmla="*/ 2673292 h 2673571"/>
                <a:gd name="connsiteX6" fmla="*/ 899691 w 8308722"/>
                <a:gd name="connsiteY6" fmla="*/ 1377571 h 2673571"/>
                <a:gd name="connsiteX7" fmla="*/ 464399 w 8308722"/>
                <a:gd name="connsiteY7" fmla="*/ 107573 h 2673571"/>
                <a:gd name="connsiteX8" fmla="*/ 8161685 w 8308722"/>
                <a:gd name="connsiteY8" fmla="*/ 1029100 h 2673571"/>
                <a:gd name="connsiteX9" fmla="*/ 8161685 w 8308722"/>
                <a:gd name="connsiteY9" fmla="*/ 1029566 h 2673571"/>
                <a:gd name="connsiteX10" fmla="*/ 8162460 w 8308722"/>
                <a:gd name="connsiteY10" fmla="*/ 1029380 h 2673571"/>
                <a:gd name="connsiteX11" fmla="*/ 8308722 w 8308722"/>
                <a:gd name="connsiteY11" fmla="*/ 1377572 h 2673571"/>
                <a:gd name="connsiteX12" fmla="*/ 8162460 w 8308722"/>
                <a:gd name="connsiteY12" fmla="*/ 1725764 h 2673571"/>
                <a:gd name="connsiteX13" fmla="*/ 8161685 w 8308722"/>
                <a:gd name="connsiteY13" fmla="*/ 1725578 h 2673571"/>
                <a:gd name="connsiteX14" fmla="*/ 8161685 w 8308722"/>
                <a:gd name="connsiteY14" fmla="*/ 1726043 h 2673571"/>
                <a:gd name="connsiteX15" fmla="*/ 464399 w 8308722"/>
                <a:gd name="connsiteY15" fmla="*/ 2647569 h 2673571"/>
                <a:gd name="connsiteX16" fmla="*/ 868097 w 8308722"/>
                <a:gd name="connsiteY16" fmla="*/ 1797694 h 2673571"/>
                <a:gd name="connsiteX0" fmla="*/ 546353 w 7955384"/>
                <a:gd name="connsiteY0" fmla="*/ 1377571 h 2673571"/>
                <a:gd name="connsiteX1" fmla="*/ 441270 w 7955384"/>
                <a:gd name="connsiteY1" fmla="*/ 569373 h 2673571"/>
                <a:gd name="connsiteX2" fmla="*/ 111061 w 7955384"/>
                <a:gd name="connsiteY2" fmla="*/ 107573 h 2673571"/>
                <a:gd name="connsiteX3" fmla="*/ 775 w 7955384"/>
                <a:gd name="connsiteY3" fmla="*/ 2673385 h 2673571"/>
                <a:gd name="connsiteX4" fmla="*/ 0 w 7955384"/>
                <a:gd name="connsiteY4" fmla="*/ 2673571 h 2673571"/>
                <a:gd name="connsiteX5" fmla="*/ 0 w 7955384"/>
                <a:gd name="connsiteY5" fmla="*/ 2673292 h 2673571"/>
                <a:gd name="connsiteX6" fmla="*/ 546353 w 7955384"/>
                <a:gd name="connsiteY6" fmla="*/ 1377571 h 2673571"/>
                <a:gd name="connsiteX7" fmla="*/ 111061 w 7955384"/>
                <a:gd name="connsiteY7" fmla="*/ 107573 h 2673571"/>
                <a:gd name="connsiteX8" fmla="*/ 7808347 w 7955384"/>
                <a:gd name="connsiteY8" fmla="*/ 1029100 h 2673571"/>
                <a:gd name="connsiteX9" fmla="*/ 7808347 w 7955384"/>
                <a:gd name="connsiteY9" fmla="*/ 1029566 h 2673571"/>
                <a:gd name="connsiteX10" fmla="*/ 7809122 w 7955384"/>
                <a:gd name="connsiteY10" fmla="*/ 1029380 h 2673571"/>
                <a:gd name="connsiteX11" fmla="*/ 7955384 w 7955384"/>
                <a:gd name="connsiteY11" fmla="*/ 1377572 h 2673571"/>
                <a:gd name="connsiteX12" fmla="*/ 7809122 w 7955384"/>
                <a:gd name="connsiteY12" fmla="*/ 1725764 h 2673571"/>
                <a:gd name="connsiteX13" fmla="*/ 7808347 w 7955384"/>
                <a:gd name="connsiteY13" fmla="*/ 1725578 h 2673571"/>
                <a:gd name="connsiteX14" fmla="*/ 7808347 w 7955384"/>
                <a:gd name="connsiteY14" fmla="*/ 1726043 h 2673571"/>
                <a:gd name="connsiteX15" fmla="*/ 111061 w 7955384"/>
                <a:gd name="connsiteY15" fmla="*/ 2647569 h 2673571"/>
                <a:gd name="connsiteX0" fmla="*/ 0 w 7955384"/>
                <a:gd name="connsiteY0" fmla="*/ 2673292 h 2673571"/>
                <a:gd name="connsiteX1" fmla="*/ 441270 w 7955384"/>
                <a:gd name="connsiteY1" fmla="*/ 569373 h 2673571"/>
                <a:gd name="connsiteX2" fmla="*/ 111061 w 7955384"/>
                <a:gd name="connsiteY2" fmla="*/ 107573 h 2673571"/>
                <a:gd name="connsiteX3" fmla="*/ 775 w 7955384"/>
                <a:gd name="connsiteY3" fmla="*/ 2673385 h 2673571"/>
                <a:gd name="connsiteX4" fmla="*/ 0 w 7955384"/>
                <a:gd name="connsiteY4" fmla="*/ 2673571 h 2673571"/>
                <a:gd name="connsiteX5" fmla="*/ 0 w 7955384"/>
                <a:gd name="connsiteY5" fmla="*/ 2673292 h 2673571"/>
                <a:gd name="connsiteX6" fmla="*/ 111061 w 7955384"/>
                <a:gd name="connsiteY6" fmla="*/ 107573 h 2673571"/>
                <a:gd name="connsiteX7" fmla="*/ 7808347 w 7955384"/>
                <a:gd name="connsiteY7" fmla="*/ 1029100 h 2673571"/>
                <a:gd name="connsiteX8" fmla="*/ 7808347 w 7955384"/>
                <a:gd name="connsiteY8" fmla="*/ 1029566 h 2673571"/>
                <a:gd name="connsiteX9" fmla="*/ 7809122 w 7955384"/>
                <a:gd name="connsiteY9" fmla="*/ 1029380 h 2673571"/>
                <a:gd name="connsiteX10" fmla="*/ 7955384 w 7955384"/>
                <a:gd name="connsiteY10" fmla="*/ 1377572 h 2673571"/>
                <a:gd name="connsiteX11" fmla="*/ 7809122 w 7955384"/>
                <a:gd name="connsiteY11" fmla="*/ 1725764 h 2673571"/>
                <a:gd name="connsiteX12" fmla="*/ 7808347 w 7955384"/>
                <a:gd name="connsiteY12" fmla="*/ 1725578 h 2673571"/>
                <a:gd name="connsiteX13" fmla="*/ 7808347 w 7955384"/>
                <a:gd name="connsiteY13" fmla="*/ 1726043 h 2673571"/>
                <a:gd name="connsiteX14" fmla="*/ 111061 w 7955384"/>
                <a:gd name="connsiteY14" fmla="*/ 2647569 h 2673571"/>
                <a:gd name="connsiteX0" fmla="*/ 0 w 7955384"/>
                <a:gd name="connsiteY0" fmla="*/ 2565719 h 2565998"/>
                <a:gd name="connsiteX1" fmla="*/ 111061 w 7955384"/>
                <a:gd name="connsiteY1" fmla="*/ 0 h 2565998"/>
                <a:gd name="connsiteX2" fmla="*/ 775 w 7955384"/>
                <a:gd name="connsiteY2" fmla="*/ 2565812 h 2565998"/>
                <a:gd name="connsiteX3" fmla="*/ 0 w 7955384"/>
                <a:gd name="connsiteY3" fmla="*/ 2565998 h 2565998"/>
                <a:gd name="connsiteX4" fmla="*/ 0 w 7955384"/>
                <a:gd name="connsiteY4" fmla="*/ 2565719 h 2565998"/>
                <a:gd name="connsiteX5" fmla="*/ 111061 w 7955384"/>
                <a:gd name="connsiteY5" fmla="*/ 0 h 2565998"/>
                <a:gd name="connsiteX6" fmla="*/ 7808347 w 7955384"/>
                <a:gd name="connsiteY6" fmla="*/ 921527 h 2565998"/>
                <a:gd name="connsiteX7" fmla="*/ 7808347 w 7955384"/>
                <a:gd name="connsiteY7" fmla="*/ 921993 h 2565998"/>
                <a:gd name="connsiteX8" fmla="*/ 7809122 w 7955384"/>
                <a:gd name="connsiteY8" fmla="*/ 921807 h 2565998"/>
                <a:gd name="connsiteX9" fmla="*/ 7955384 w 7955384"/>
                <a:gd name="connsiteY9" fmla="*/ 1269999 h 2565998"/>
                <a:gd name="connsiteX10" fmla="*/ 7809122 w 7955384"/>
                <a:gd name="connsiteY10" fmla="*/ 1618191 h 2565998"/>
                <a:gd name="connsiteX11" fmla="*/ 7808347 w 7955384"/>
                <a:gd name="connsiteY11" fmla="*/ 1618005 h 2565998"/>
                <a:gd name="connsiteX12" fmla="*/ 7808347 w 7955384"/>
                <a:gd name="connsiteY12" fmla="*/ 1618470 h 2565998"/>
                <a:gd name="connsiteX13" fmla="*/ 111061 w 7955384"/>
                <a:gd name="connsiteY13" fmla="*/ 2539996 h 2565998"/>
                <a:gd name="connsiteX0" fmla="*/ 0 w 7955384"/>
                <a:gd name="connsiteY0" fmla="*/ 2565998 h 2565998"/>
                <a:gd name="connsiteX1" fmla="*/ 111061 w 7955384"/>
                <a:gd name="connsiteY1" fmla="*/ 0 h 2565998"/>
                <a:gd name="connsiteX2" fmla="*/ 775 w 7955384"/>
                <a:gd name="connsiteY2" fmla="*/ 2565812 h 2565998"/>
                <a:gd name="connsiteX3" fmla="*/ 0 w 7955384"/>
                <a:gd name="connsiteY3" fmla="*/ 2565998 h 2565998"/>
                <a:gd name="connsiteX4" fmla="*/ 111061 w 7955384"/>
                <a:gd name="connsiteY4" fmla="*/ 0 h 2565998"/>
                <a:gd name="connsiteX5" fmla="*/ 7808347 w 7955384"/>
                <a:gd name="connsiteY5" fmla="*/ 921527 h 2565998"/>
                <a:gd name="connsiteX6" fmla="*/ 7808347 w 7955384"/>
                <a:gd name="connsiteY6" fmla="*/ 921993 h 2565998"/>
                <a:gd name="connsiteX7" fmla="*/ 7809122 w 7955384"/>
                <a:gd name="connsiteY7" fmla="*/ 921807 h 2565998"/>
                <a:gd name="connsiteX8" fmla="*/ 7955384 w 7955384"/>
                <a:gd name="connsiteY8" fmla="*/ 1269999 h 2565998"/>
                <a:gd name="connsiteX9" fmla="*/ 7809122 w 7955384"/>
                <a:gd name="connsiteY9" fmla="*/ 1618191 h 2565998"/>
                <a:gd name="connsiteX10" fmla="*/ 7808347 w 7955384"/>
                <a:gd name="connsiteY10" fmla="*/ 1618005 h 2565998"/>
                <a:gd name="connsiteX11" fmla="*/ 7808347 w 7955384"/>
                <a:gd name="connsiteY11" fmla="*/ 1618470 h 2565998"/>
                <a:gd name="connsiteX12" fmla="*/ 111061 w 7955384"/>
                <a:gd name="connsiteY12" fmla="*/ 2539996 h 2565998"/>
                <a:gd name="connsiteX0" fmla="*/ 26 w 7954635"/>
                <a:gd name="connsiteY0" fmla="*/ 2565812 h 2565812"/>
                <a:gd name="connsiteX1" fmla="*/ 110312 w 7954635"/>
                <a:gd name="connsiteY1" fmla="*/ 0 h 2565812"/>
                <a:gd name="connsiteX2" fmla="*/ 26 w 7954635"/>
                <a:gd name="connsiteY2" fmla="*/ 2565812 h 2565812"/>
                <a:gd name="connsiteX3" fmla="*/ 110312 w 7954635"/>
                <a:gd name="connsiteY3" fmla="*/ 0 h 2565812"/>
                <a:gd name="connsiteX4" fmla="*/ 7807598 w 7954635"/>
                <a:gd name="connsiteY4" fmla="*/ 921527 h 2565812"/>
                <a:gd name="connsiteX5" fmla="*/ 7807598 w 7954635"/>
                <a:gd name="connsiteY5" fmla="*/ 921993 h 2565812"/>
                <a:gd name="connsiteX6" fmla="*/ 7808373 w 7954635"/>
                <a:gd name="connsiteY6" fmla="*/ 921807 h 2565812"/>
                <a:gd name="connsiteX7" fmla="*/ 7954635 w 7954635"/>
                <a:gd name="connsiteY7" fmla="*/ 1269999 h 2565812"/>
                <a:gd name="connsiteX8" fmla="*/ 7808373 w 7954635"/>
                <a:gd name="connsiteY8" fmla="*/ 1618191 h 2565812"/>
                <a:gd name="connsiteX9" fmla="*/ 7807598 w 7954635"/>
                <a:gd name="connsiteY9" fmla="*/ 1618005 h 2565812"/>
                <a:gd name="connsiteX10" fmla="*/ 7807598 w 7954635"/>
                <a:gd name="connsiteY10" fmla="*/ 1618470 h 2565812"/>
                <a:gd name="connsiteX11" fmla="*/ 110312 w 7954635"/>
                <a:gd name="connsiteY11" fmla="*/ 2539996 h 2565812"/>
                <a:gd name="connsiteX0" fmla="*/ 0 w 7844323"/>
                <a:gd name="connsiteY0" fmla="*/ 0 h 2539996"/>
                <a:gd name="connsiteX1" fmla="*/ 7697286 w 7844323"/>
                <a:gd name="connsiteY1" fmla="*/ 921527 h 2539996"/>
                <a:gd name="connsiteX2" fmla="*/ 7697286 w 7844323"/>
                <a:gd name="connsiteY2" fmla="*/ 921993 h 2539996"/>
                <a:gd name="connsiteX3" fmla="*/ 7698061 w 7844323"/>
                <a:gd name="connsiteY3" fmla="*/ 921807 h 2539996"/>
                <a:gd name="connsiteX4" fmla="*/ 7844323 w 7844323"/>
                <a:gd name="connsiteY4" fmla="*/ 1269999 h 2539996"/>
                <a:gd name="connsiteX5" fmla="*/ 7698061 w 7844323"/>
                <a:gd name="connsiteY5" fmla="*/ 1618191 h 2539996"/>
                <a:gd name="connsiteX6" fmla="*/ 7697286 w 7844323"/>
                <a:gd name="connsiteY6" fmla="*/ 1618005 h 2539996"/>
                <a:gd name="connsiteX7" fmla="*/ 7697286 w 7844323"/>
                <a:gd name="connsiteY7" fmla="*/ 1618470 h 2539996"/>
                <a:gd name="connsiteX8" fmla="*/ 0 w 7844323"/>
                <a:gd name="connsiteY8" fmla="*/ 2539996 h 2539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44323" h="2539996">
                  <a:moveTo>
                    <a:pt x="0" y="0"/>
                  </a:moveTo>
                  <a:cubicBezTo>
                    <a:pt x="662298" y="152323"/>
                    <a:pt x="4181278" y="921527"/>
                    <a:pt x="7697286" y="921527"/>
                  </a:cubicBezTo>
                  <a:lnTo>
                    <a:pt x="7697286" y="921993"/>
                  </a:lnTo>
                  <a:cubicBezTo>
                    <a:pt x="7697543" y="921809"/>
                    <a:pt x="7697802" y="921807"/>
                    <a:pt x="7698061" y="921807"/>
                  </a:cubicBezTo>
                  <a:cubicBezTo>
                    <a:pt x="7778839" y="921807"/>
                    <a:pt x="7844323" y="1077698"/>
                    <a:pt x="7844323" y="1269999"/>
                  </a:cubicBezTo>
                  <a:cubicBezTo>
                    <a:pt x="7844323" y="1462300"/>
                    <a:pt x="7778839" y="1618191"/>
                    <a:pt x="7698061" y="1618191"/>
                  </a:cubicBezTo>
                  <a:lnTo>
                    <a:pt x="7697286" y="1618005"/>
                  </a:lnTo>
                  <a:lnTo>
                    <a:pt x="7697286" y="1618470"/>
                  </a:lnTo>
                  <a:cubicBezTo>
                    <a:pt x="4181278" y="1618470"/>
                    <a:pt x="662298" y="2387673"/>
                    <a:pt x="0" y="2539996"/>
                  </a:cubicBezTo>
                </a:path>
              </a:pathLst>
            </a:custGeom>
            <a:noFill/>
            <a:ln w="6350">
              <a:noFill/>
              <a:prstDash val="sysDot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5" name="Ellipse 24"/>
            <p:cNvSpPr/>
            <p:nvPr/>
          </p:nvSpPr>
          <p:spPr bwMode="gray">
            <a:xfrm>
              <a:off x="1300474" y="2689901"/>
              <a:ext cx="318063" cy="318062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6" name="Ellipse 25"/>
            <p:cNvSpPr/>
            <p:nvPr/>
          </p:nvSpPr>
          <p:spPr bwMode="gray">
            <a:xfrm>
              <a:off x="1594074" y="3148268"/>
              <a:ext cx="318063" cy="318062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8" name="Ellipse 26"/>
            <p:cNvSpPr/>
            <p:nvPr/>
          </p:nvSpPr>
          <p:spPr bwMode="gray">
            <a:xfrm>
              <a:off x="1659291" y="3863419"/>
              <a:ext cx="318063" cy="318062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9" name="Ellipse 27"/>
            <p:cNvSpPr/>
            <p:nvPr/>
          </p:nvSpPr>
          <p:spPr bwMode="gray">
            <a:xfrm>
              <a:off x="1068740" y="3336340"/>
              <a:ext cx="318063" cy="318062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0" name="Ellipse 28"/>
            <p:cNvSpPr/>
            <p:nvPr/>
          </p:nvSpPr>
          <p:spPr bwMode="gray">
            <a:xfrm>
              <a:off x="1158010" y="3958543"/>
              <a:ext cx="318063" cy="318062"/>
            </a:xfrm>
            <a:prstGeom prst="ellipse">
              <a:avLst/>
            </a:prstGeom>
            <a:solidFill>
              <a:schemeClr val="tx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1" name="Ellipse 29"/>
            <p:cNvSpPr/>
            <p:nvPr/>
          </p:nvSpPr>
          <p:spPr bwMode="gray">
            <a:xfrm>
              <a:off x="2463847" y="3325287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2" name="Ellipse 30"/>
            <p:cNvSpPr/>
            <p:nvPr/>
          </p:nvSpPr>
          <p:spPr bwMode="gray">
            <a:xfrm>
              <a:off x="2306183" y="2645286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3" name="Ellipse 31"/>
            <p:cNvSpPr/>
            <p:nvPr/>
          </p:nvSpPr>
          <p:spPr bwMode="gray">
            <a:xfrm>
              <a:off x="2347553" y="4044439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4" name="Ellipse 32"/>
            <p:cNvSpPr/>
            <p:nvPr/>
          </p:nvSpPr>
          <p:spPr bwMode="gray">
            <a:xfrm>
              <a:off x="10547109" y="3343594"/>
              <a:ext cx="332918" cy="33291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5" name="Ellipse 33"/>
            <p:cNvSpPr/>
            <p:nvPr/>
          </p:nvSpPr>
          <p:spPr bwMode="gray">
            <a:xfrm>
              <a:off x="9119040" y="3343594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6" name="Ellipse 34"/>
            <p:cNvSpPr/>
            <p:nvPr/>
          </p:nvSpPr>
          <p:spPr bwMode="gray">
            <a:xfrm>
              <a:off x="7662749" y="3343594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7" name="Ellipse 35"/>
            <p:cNvSpPr/>
            <p:nvPr/>
          </p:nvSpPr>
          <p:spPr bwMode="gray">
            <a:xfrm>
              <a:off x="6239115" y="3540449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8" name="Ellipse 36"/>
            <p:cNvSpPr/>
            <p:nvPr/>
          </p:nvSpPr>
          <p:spPr bwMode="gray">
            <a:xfrm>
              <a:off x="5810364" y="3198008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9" name="Ellipse 37"/>
            <p:cNvSpPr/>
            <p:nvPr/>
          </p:nvSpPr>
          <p:spPr bwMode="gray">
            <a:xfrm>
              <a:off x="4085485" y="3238249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0" name="Ellipse 38"/>
            <p:cNvSpPr/>
            <p:nvPr/>
          </p:nvSpPr>
          <p:spPr bwMode="gray">
            <a:xfrm>
              <a:off x="4519728" y="2950101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1" name="Ellipse 39"/>
            <p:cNvSpPr/>
            <p:nvPr/>
          </p:nvSpPr>
          <p:spPr bwMode="gray">
            <a:xfrm>
              <a:off x="4519728" y="3609370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2" name="Ellipse 40"/>
            <p:cNvSpPr/>
            <p:nvPr/>
          </p:nvSpPr>
          <p:spPr bwMode="gray">
            <a:xfrm>
              <a:off x="4043668" y="3838331"/>
              <a:ext cx="332918" cy="332916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GB" sz="1600" dirty="0">
                <a:solidFill>
                  <a:srgbClr val="4D4E5C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3" name="Oval 6"/>
            <p:cNvSpPr>
              <a:spLocks noChangeArrowheads="1"/>
            </p:cNvSpPr>
            <p:nvPr/>
          </p:nvSpPr>
          <p:spPr bwMode="gray">
            <a:xfrm>
              <a:off x="2982260" y="2557643"/>
              <a:ext cx="987759" cy="1879877"/>
            </a:xfrm>
            <a:prstGeom prst="ellipse">
              <a:avLst/>
            </a:prstGeom>
            <a:solidFill>
              <a:schemeClr val="bg1">
                <a:alpha val="40000"/>
              </a:schemeClr>
            </a:solidFill>
            <a:ln w="3175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endParaRPr lang="en-GB" kern="0" dirty="0">
                <a:solidFill>
                  <a:srgbClr val="4D4E5C">
                    <a:lumMod val="75000"/>
                    <a:lumOff val="25000"/>
                  </a:srgbClr>
                </a:solidFill>
                <a:latin typeface="Arial" pitchFamily="34" charset="0"/>
                <a:ea typeface="Open Sans" panose="020B0606030504020204" pitchFamily="34" charset="0"/>
                <a:cs typeface="Arial" pitchFamily="34" charset="0"/>
              </a:endParaRPr>
            </a:p>
          </p:txBody>
        </p:sp>
        <p:sp>
          <p:nvSpPr>
            <p:cNvPr id="74" name="Oval 6"/>
            <p:cNvSpPr>
              <a:spLocks noChangeArrowheads="1"/>
            </p:cNvSpPr>
            <p:nvPr/>
          </p:nvSpPr>
          <p:spPr bwMode="gray">
            <a:xfrm>
              <a:off x="4890718" y="2794635"/>
              <a:ext cx="740560" cy="1409414"/>
            </a:xfrm>
            <a:prstGeom prst="ellipse">
              <a:avLst/>
            </a:prstGeom>
            <a:solidFill>
              <a:schemeClr val="bg1">
                <a:alpha val="40000"/>
              </a:schemeClr>
            </a:solidFill>
            <a:ln w="3175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endParaRPr lang="en-GB" kern="0" dirty="0">
                <a:solidFill>
                  <a:srgbClr val="4D4E5C">
                    <a:lumMod val="75000"/>
                    <a:lumOff val="25000"/>
                  </a:srgbClr>
                </a:solidFill>
                <a:latin typeface="Arial" pitchFamily="34" charset="0"/>
                <a:ea typeface="Open Sans" panose="020B0606030504020204" pitchFamily="34" charset="0"/>
                <a:cs typeface="Arial" pitchFamily="34" charset="0"/>
              </a:endParaRPr>
            </a:p>
          </p:txBody>
        </p:sp>
        <p:sp>
          <p:nvSpPr>
            <p:cNvPr id="75" name="Oval 6"/>
            <p:cNvSpPr>
              <a:spLocks noChangeArrowheads="1"/>
            </p:cNvSpPr>
            <p:nvPr/>
          </p:nvSpPr>
          <p:spPr bwMode="gray">
            <a:xfrm>
              <a:off x="6730332" y="2962275"/>
              <a:ext cx="542347" cy="1074134"/>
            </a:xfrm>
            <a:prstGeom prst="ellipse">
              <a:avLst/>
            </a:prstGeom>
            <a:solidFill>
              <a:schemeClr val="bg1">
                <a:alpha val="40000"/>
              </a:schemeClr>
            </a:solidFill>
            <a:ln w="3175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endParaRPr lang="en-GB" kern="0" dirty="0">
                <a:solidFill>
                  <a:srgbClr val="4D4E5C">
                    <a:lumMod val="75000"/>
                    <a:lumOff val="25000"/>
                  </a:srgbClr>
                </a:solidFill>
                <a:latin typeface="Arial" pitchFamily="34" charset="0"/>
                <a:ea typeface="Open Sans" panose="020B0606030504020204" pitchFamily="34" charset="0"/>
                <a:cs typeface="Arial" pitchFamily="34" charset="0"/>
              </a:endParaRPr>
            </a:p>
          </p:txBody>
        </p:sp>
        <p:sp>
          <p:nvSpPr>
            <p:cNvPr id="76" name="Oval 6"/>
            <p:cNvSpPr>
              <a:spLocks noChangeArrowheads="1"/>
            </p:cNvSpPr>
            <p:nvPr/>
          </p:nvSpPr>
          <p:spPr bwMode="gray">
            <a:xfrm>
              <a:off x="8318934" y="3059191"/>
              <a:ext cx="454561" cy="865109"/>
            </a:xfrm>
            <a:prstGeom prst="ellipse">
              <a:avLst/>
            </a:prstGeom>
            <a:solidFill>
              <a:schemeClr val="bg1">
                <a:alpha val="40000"/>
              </a:schemeClr>
            </a:solidFill>
            <a:ln w="3175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endParaRPr lang="en-GB" kern="0" dirty="0">
                <a:solidFill>
                  <a:srgbClr val="4D4E5C">
                    <a:lumMod val="75000"/>
                    <a:lumOff val="25000"/>
                  </a:srgbClr>
                </a:solidFill>
                <a:latin typeface="Arial" pitchFamily="34" charset="0"/>
                <a:ea typeface="Open Sans" panose="020B0606030504020204" pitchFamily="34" charset="0"/>
                <a:cs typeface="Arial" pitchFamily="34" charset="0"/>
              </a:endParaRPr>
            </a:p>
          </p:txBody>
        </p:sp>
        <p:sp>
          <p:nvSpPr>
            <p:cNvPr id="77" name="Oval 6"/>
            <p:cNvSpPr>
              <a:spLocks noChangeArrowheads="1"/>
            </p:cNvSpPr>
            <p:nvPr/>
          </p:nvSpPr>
          <p:spPr bwMode="gray">
            <a:xfrm>
              <a:off x="9801761" y="3139440"/>
              <a:ext cx="380407" cy="723979"/>
            </a:xfrm>
            <a:prstGeom prst="ellipse">
              <a:avLst/>
            </a:prstGeom>
            <a:solidFill>
              <a:schemeClr val="bg1">
                <a:alpha val="40000"/>
              </a:schemeClr>
            </a:solidFill>
            <a:ln w="3175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endParaRPr lang="en-GB" kern="0" dirty="0">
                <a:solidFill>
                  <a:srgbClr val="4D4E5C">
                    <a:lumMod val="75000"/>
                    <a:lumOff val="25000"/>
                  </a:srgbClr>
                </a:solidFill>
                <a:latin typeface="Arial" pitchFamily="34" charset="0"/>
                <a:ea typeface="Open Sans" panose="020B0606030504020204" pitchFamily="34" charset="0"/>
                <a:cs typeface="Arial" pitchFamily="34" charset="0"/>
              </a:endParaRPr>
            </a:p>
          </p:txBody>
        </p:sp>
      </p:grpSp>
      <p:sp>
        <p:nvSpPr>
          <p:cNvPr id="78" name="Textplatzhalter 3"/>
          <p:cNvSpPr txBox="1">
            <a:spLocks/>
          </p:cNvSpPr>
          <p:nvPr/>
        </p:nvSpPr>
        <p:spPr bwMode="gray">
          <a:xfrm>
            <a:off x="617539" y="1761674"/>
            <a:ext cx="1533314" cy="82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PHASES</a:t>
            </a:r>
          </a:p>
          <a:p>
            <a:pPr marL="216000" lvl="2" indent="-216000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</a:t>
            </a:r>
          </a:p>
          <a:p>
            <a:pPr marL="216000" lvl="2" indent="-216000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</a:t>
            </a:r>
          </a:p>
        </p:txBody>
      </p:sp>
      <p:sp>
        <p:nvSpPr>
          <p:cNvPr id="91" name="Textplatzhalter 3"/>
          <p:cNvSpPr txBox="1">
            <a:spLocks/>
          </p:cNvSpPr>
          <p:nvPr/>
        </p:nvSpPr>
        <p:spPr bwMode="gray">
          <a:xfrm>
            <a:off x="9502364" y="5113752"/>
            <a:ext cx="1335130" cy="45602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157806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/>
            </a:lvl2pPr>
            <a:lvl3pPr marL="315612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/>
            </a:lvl3pPr>
            <a:lvl4pPr marL="473418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4pPr>
            <a:lvl5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5pPr>
            <a:lvl6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6pPr>
            <a:lvl7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7pPr>
            <a:lvl8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8pPr>
            <a:lvl9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9pPr>
          </a:lstStyle>
          <a:p>
            <a:r>
              <a:rPr lang="en-US" dirty="0"/>
              <a:t>FILTER 5</a:t>
            </a:r>
          </a:p>
        </p:txBody>
      </p:sp>
      <p:sp>
        <p:nvSpPr>
          <p:cNvPr id="99" name="Textplatzhalter 3"/>
          <p:cNvSpPr txBox="1">
            <a:spLocks/>
          </p:cNvSpPr>
          <p:nvPr/>
        </p:nvSpPr>
        <p:spPr bwMode="gray">
          <a:xfrm>
            <a:off x="7994843" y="5159472"/>
            <a:ext cx="1335130" cy="45602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157806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/>
            </a:lvl2pPr>
            <a:lvl3pPr marL="315612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/>
            </a:lvl3pPr>
            <a:lvl4pPr marL="473418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4pPr>
            <a:lvl5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5pPr>
            <a:lvl6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6pPr>
            <a:lvl7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7pPr>
            <a:lvl8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8pPr>
            <a:lvl9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9pPr>
          </a:lstStyle>
          <a:p>
            <a:r>
              <a:rPr lang="en-US" dirty="0"/>
              <a:t>FILTER 4</a:t>
            </a:r>
          </a:p>
        </p:txBody>
      </p:sp>
      <p:sp>
        <p:nvSpPr>
          <p:cNvPr id="103" name="Textplatzhalter 3"/>
          <p:cNvSpPr txBox="1">
            <a:spLocks/>
          </p:cNvSpPr>
          <p:nvPr/>
        </p:nvSpPr>
        <p:spPr bwMode="gray">
          <a:xfrm>
            <a:off x="6361778" y="5266152"/>
            <a:ext cx="1335130" cy="45602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157806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/>
            </a:lvl2pPr>
            <a:lvl3pPr marL="315612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/>
            </a:lvl3pPr>
            <a:lvl4pPr marL="473418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4pPr>
            <a:lvl5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5pPr>
            <a:lvl6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6pPr>
            <a:lvl7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7pPr>
            <a:lvl8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8pPr>
            <a:lvl9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9pPr>
          </a:lstStyle>
          <a:p>
            <a:r>
              <a:rPr lang="en-US" dirty="0"/>
              <a:t>FILTER 3</a:t>
            </a:r>
          </a:p>
        </p:txBody>
      </p:sp>
      <p:sp>
        <p:nvSpPr>
          <p:cNvPr id="107" name="Textplatzhalter 3"/>
          <p:cNvSpPr txBox="1">
            <a:spLocks/>
          </p:cNvSpPr>
          <p:nvPr/>
        </p:nvSpPr>
        <p:spPr bwMode="gray">
          <a:xfrm>
            <a:off x="4544328" y="5464272"/>
            <a:ext cx="1335130" cy="45602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</a:defRPr>
            </a:lvl1pPr>
            <a:lvl2pPr marL="157806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/>
            </a:lvl2pPr>
            <a:lvl3pPr marL="315612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/>
            </a:lvl3pPr>
            <a:lvl4pPr marL="473418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4pPr>
            <a:lvl5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5pPr>
            <a:lvl6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6pPr>
            <a:lvl7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7pPr>
            <a:lvl8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8pPr>
            <a:lvl9pPr marL="631224" indent="-157806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/>
            </a:lvl9pPr>
          </a:lstStyle>
          <a:p>
            <a:r>
              <a:rPr lang="en-US" dirty="0"/>
              <a:t>FILTER 2</a:t>
            </a:r>
          </a:p>
        </p:txBody>
      </p:sp>
      <p:sp>
        <p:nvSpPr>
          <p:cNvPr id="111" name="Textplatzhalter 3"/>
          <p:cNvSpPr txBox="1">
            <a:spLocks/>
          </p:cNvSpPr>
          <p:nvPr/>
        </p:nvSpPr>
        <p:spPr bwMode="gray">
          <a:xfrm>
            <a:off x="2679221" y="5715732"/>
            <a:ext cx="1335130" cy="45602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FILTER 1</a:t>
            </a:r>
          </a:p>
        </p:txBody>
      </p:sp>
      <p:grpSp>
        <p:nvGrpSpPr>
          <p:cNvPr id="115" name="Group 114"/>
          <p:cNvGrpSpPr/>
          <p:nvPr/>
        </p:nvGrpSpPr>
        <p:grpSpPr>
          <a:xfrm rot="16200000">
            <a:off x="2399112" y="1987116"/>
            <a:ext cx="323850" cy="323850"/>
            <a:chOff x="428846" y="1801019"/>
            <a:chExt cx="323850" cy="323850"/>
          </a:xfrm>
        </p:grpSpPr>
        <p:sp>
          <p:nvSpPr>
            <p:cNvPr id="116" name="Oval 115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Chevron 116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 rot="16200000">
            <a:off x="4752795" y="1987116"/>
            <a:ext cx="323850" cy="323850"/>
            <a:chOff x="428846" y="1801019"/>
            <a:chExt cx="323850" cy="323850"/>
          </a:xfrm>
        </p:grpSpPr>
        <p:sp>
          <p:nvSpPr>
            <p:cNvPr id="119" name="Oval 118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Chevron 119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 rot="16200000">
            <a:off x="7106478" y="1987116"/>
            <a:ext cx="323850" cy="323850"/>
            <a:chOff x="428846" y="1801019"/>
            <a:chExt cx="323850" cy="323850"/>
          </a:xfrm>
        </p:grpSpPr>
        <p:sp>
          <p:nvSpPr>
            <p:cNvPr id="122" name="Oval 121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Chevron 122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 rot="16200000">
            <a:off x="9460161" y="1987116"/>
            <a:ext cx="323850" cy="323850"/>
            <a:chOff x="428846" y="1801019"/>
            <a:chExt cx="323850" cy="323850"/>
          </a:xfrm>
        </p:grpSpPr>
        <p:sp>
          <p:nvSpPr>
            <p:cNvPr id="125" name="Oval 124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Chevron 125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7" name="Group 126"/>
          <p:cNvGrpSpPr/>
          <p:nvPr/>
        </p:nvGrpSpPr>
        <p:grpSpPr>
          <a:xfrm rot="10800000">
            <a:off x="3184862" y="5299702"/>
            <a:ext cx="323850" cy="323850"/>
            <a:chOff x="428846" y="1801019"/>
            <a:chExt cx="323850" cy="323850"/>
          </a:xfrm>
        </p:grpSpPr>
        <p:sp>
          <p:nvSpPr>
            <p:cNvPr id="128" name="Oval 127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rgbClr val="B3E90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Chevron 128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oup 129"/>
          <p:cNvGrpSpPr/>
          <p:nvPr/>
        </p:nvGrpSpPr>
        <p:grpSpPr>
          <a:xfrm rot="10800000">
            <a:off x="5049969" y="5043529"/>
            <a:ext cx="323850" cy="323850"/>
            <a:chOff x="428846" y="1801019"/>
            <a:chExt cx="323850" cy="323850"/>
          </a:xfrm>
        </p:grpSpPr>
        <p:sp>
          <p:nvSpPr>
            <p:cNvPr id="131" name="Oval 130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rgbClr val="B3E90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Chevron 131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 rot="10800000">
            <a:off x="6867419" y="4847398"/>
            <a:ext cx="323850" cy="323850"/>
            <a:chOff x="428846" y="1801019"/>
            <a:chExt cx="323850" cy="323850"/>
          </a:xfrm>
        </p:grpSpPr>
        <p:sp>
          <p:nvSpPr>
            <p:cNvPr id="134" name="Oval 133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rgbClr val="B3E90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Chevron 134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6" name="Group 135"/>
          <p:cNvGrpSpPr/>
          <p:nvPr/>
        </p:nvGrpSpPr>
        <p:grpSpPr>
          <a:xfrm rot="10800000">
            <a:off x="8500483" y="4719679"/>
            <a:ext cx="323850" cy="323850"/>
            <a:chOff x="428846" y="1801019"/>
            <a:chExt cx="323850" cy="323850"/>
          </a:xfrm>
        </p:grpSpPr>
        <p:sp>
          <p:nvSpPr>
            <p:cNvPr id="137" name="Oval 136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rgbClr val="B3E90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Chevron 137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9" name="Group 138"/>
          <p:cNvGrpSpPr/>
          <p:nvPr/>
        </p:nvGrpSpPr>
        <p:grpSpPr>
          <a:xfrm rot="10800000">
            <a:off x="10008004" y="4647269"/>
            <a:ext cx="323850" cy="323850"/>
            <a:chOff x="428846" y="1801019"/>
            <a:chExt cx="323850" cy="323850"/>
          </a:xfrm>
        </p:grpSpPr>
        <p:sp>
          <p:nvSpPr>
            <p:cNvPr id="140" name="Oval 139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rgbClr val="B3E90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Chevron 140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9" name="Textplatzhalter 3">
            <a:extLst>
              <a:ext uri="{FF2B5EF4-FFF2-40B4-BE49-F238E27FC236}">
                <a16:creationId xmlns:a16="http://schemas.microsoft.com/office/drawing/2014/main" xmlns="" id="{EB6E6E48-9F0F-40E3-BE84-515927622541}"/>
              </a:ext>
            </a:extLst>
          </p:cNvPr>
          <p:cNvSpPr txBox="1">
            <a:spLocks/>
          </p:cNvSpPr>
          <p:nvPr/>
        </p:nvSpPr>
        <p:spPr bwMode="gray">
          <a:xfrm>
            <a:off x="2973044" y="1761674"/>
            <a:ext cx="1533314" cy="82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PHASES</a:t>
            </a:r>
          </a:p>
          <a:p>
            <a:pPr marL="216000" lvl="2" indent="-216000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</a:t>
            </a:r>
          </a:p>
          <a:p>
            <a:pPr marL="216000" lvl="2" indent="-216000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</a:t>
            </a:r>
          </a:p>
        </p:txBody>
      </p:sp>
      <p:sp>
        <p:nvSpPr>
          <p:cNvPr id="80" name="Textplatzhalter 3">
            <a:extLst>
              <a:ext uri="{FF2B5EF4-FFF2-40B4-BE49-F238E27FC236}">
                <a16:creationId xmlns:a16="http://schemas.microsoft.com/office/drawing/2014/main" xmlns="" id="{488E163D-C5A1-49A0-8E68-B507D5807A72}"/>
              </a:ext>
            </a:extLst>
          </p:cNvPr>
          <p:cNvSpPr txBox="1">
            <a:spLocks/>
          </p:cNvSpPr>
          <p:nvPr/>
        </p:nvSpPr>
        <p:spPr bwMode="gray">
          <a:xfrm>
            <a:off x="5328549" y="1761674"/>
            <a:ext cx="1533314" cy="82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PHASES</a:t>
            </a:r>
          </a:p>
          <a:p>
            <a:pPr marL="216000" lvl="2" indent="-216000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</a:t>
            </a:r>
          </a:p>
          <a:p>
            <a:pPr marL="216000" lvl="2" indent="-216000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</a:t>
            </a:r>
          </a:p>
        </p:txBody>
      </p:sp>
      <p:sp>
        <p:nvSpPr>
          <p:cNvPr id="81" name="Textplatzhalter 3">
            <a:extLst>
              <a:ext uri="{FF2B5EF4-FFF2-40B4-BE49-F238E27FC236}">
                <a16:creationId xmlns:a16="http://schemas.microsoft.com/office/drawing/2014/main" xmlns="" id="{7975AD18-B17C-4852-A4CF-054AAA511B0B}"/>
              </a:ext>
            </a:extLst>
          </p:cNvPr>
          <p:cNvSpPr txBox="1">
            <a:spLocks/>
          </p:cNvSpPr>
          <p:nvPr/>
        </p:nvSpPr>
        <p:spPr bwMode="gray">
          <a:xfrm>
            <a:off x="7684054" y="1761674"/>
            <a:ext cx="1533314" cy="82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PHASES</a:t>
            </a:r>
          </a:p>
          <a:p>
            <a:pPr marL="216000" lvl="2" indent="-216000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</a:t>
            </a:r>
          </a:p>
          <a:p>
            <a:pPr marL="216000" lvl="2" indent="-216000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</a:t>
            </a:r>
          </a:p>
        </p:txBody>
      </p:sp>
      <p:sp>
        <p:nvSpPr>
          <p:cNvPr id="82" name="Textplatzhalter 3">
            <a:extLst>
              <a:ext uri="{FF2B5EF4-FFF2-40B4-BE49-F238E27FC236}">
                <a16:creationId xmlns:a16="http://schemas.microsoft.com/office/drawing/2014/main" xmlns="" id="{0B2422A5-AEAF-4C52-8BCC-4EBAC8805E48}"/>
              </a:ext>
            </a:extLst>
          </p:cNvPr>
          <p:cNvSpPr txBox="1">
            <a:spLocks/>
          </p:cNvSpPr>
          <p:nvPr/>
        </p:nvSpPr>
        <p:spPr bwMode="gray">
          <a:xfrm>
            <a:off x="10039560" y="1761674"/>
            <a:ext cx="1533314" cy="82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PHASES</a:t>
            </a:r>
          </a:p>
          <a:p>
            <a:pPr marL="216000" lvl="2" indent="-216000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</a:t>
            </a:r>
          </a:p>
          <a:p>
            <a:pPr marL="216000" lvl="2" indent="-216000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5202541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trateg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2</a:t>
            </a:fld>
            <a:endParaRPr lang="en-US" dirty="0"/>
          </a:p>
        </p:txBody>
      </p:sp>
      <p:grpSp>
        <p:nvGrpSpPr>
          <p:cNvPr id="21" name="Gruppieren 12"/>
          <p:cNvGrpSpPr/>
          <p:nvPr/>
        </p:nvGrpSpPr>
        <p:grpSpPr bwMode="gray">
          <a:xfrm>
            <a:off x="5359857" y="3122229"/>
            <a:ext cx="1470699" cy="1468664"/>
            <a:chOff x="-11914188" y="2074863"/>
            <a:chExt cx="13930313" cy="13912851"/>
          </a:xfrm>
        </p:grpSpPr>
        <p:sp>
          <p:nvSpPr>
            <p:cNvPr id="22" name="Freeform 20"/>
            <p:cNvSpPr>
              <a:spLocks/>
            </p:cNvSpPr>
            <p:nvPr/>
          </p:nvSpPr>
          <p:spPr bwMode="gray">
            <a:xfrm>
              <a:off x="-11891963" y="8648701"/>
              <a:ext cx="7165975" cy="7339013"/>
            </a:xfrm>
            <a:custGeom>
              <a:avLst/>
              <a:gdLst>
                <a:gd name="T0" fmla="*/ 1899 w 1911"/>
                <a:gd name="T1" fmla="*/ 1361 h 1957"/>
                <a:gd name="T2" fmla="*/ 1219 w 1911"/>
                <a:gd name="T3" fmla="*/ 1191 h 1957"/>
                <a:gd name="T4" fmla="*/ 603 w 1911"/>
                <a:gd name="T5" fmla="*/ 260 h 1957"/>
                <a:gd name="T6" fmla="*/ 298 w 1911"/>
                <a:gd name="T7" fmla="*/ 0 h 1957"/>
                <a:gd name="T8" fmla="*/ 0 w 1911"/>
                <a:gd name="T9" fmla="*/ 266 h 1957"/>
                <a:gd name="T10" fmla="*/ 1848 w 1911"/>
                <a:gd name="T11" fmla="*/ 1957 h 1957"/>
                <a:gd name="T12" fmla="*/ 1911 w 1911"/>
                <a:gd name="T13" fmla="*/ 1957 h 1957"/>
                <a:gd name="T14" fmla="*/ 1638 w 1911"/>
                <a:gd name="T15" fmla="*/ 1653 h 1957"/>
                <a:gd name="T16" fmla="*/ 1899 w 1911"/>
                <a:gd name="T17" fmla="*/ 1361 h 1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1" h="1957">
                  <a:moveTo>
                    <a:pt x="1899" y="1361"/>
                  </a:moveTo>
                  <a:cubicBezTo>
                    <a:pt x="1670" y="1368"/>
                    <a:pt x="1435" y="1317"/>
                    <a:pt x="1219" y="1191"/>
                  </a:cubicBezTo>
                  <a:cubicBezTo>
                    <a:pt x="864" y="988"/>
                    <a:pt x="648" y="640"/>
                    <a:pt x="603" y="260"/>
                  </a:cubicBezTo>
                  <a:cubicBezTo>
                    <a:pt x="298" y="0"/>
                    <a:pt x="298" y="0"/>
                    <a:pt x="298" y="0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83" y="1209"/>
                    <a:pt x="876" y="1957"/>
                    <a:pt x="1848" y="1957"/>
                  </a:cubicBezTo>
                  <a:cubicBezTo>
                    <a:pt x="1873" y="1957"/>
                    <a:pt x="1892" y="1957"/>
                    <a:pt x="1911" y="1957"/>
                  </a:cubicBezTo>
                  <a:cubicBezTo>
                    <a:pt x="1638" y="1653"/>
                    <a:pt x="1638" y="1653"/>
                    <a:pt x="1638" y="1653"/>
                  </a:cubicBezTo>
                  <a:cubicBezTo>
                    <a:pt x="1899" y="1361"/>
                    <a:pt x="1899" y="1361"/>
                    <a:pt x="1899" y="136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gray">
            <a:xfrm>
              <a:off x="-11914188" y="2116138"/>
              <a:ext cx="7356475" cy="7124700"/>
            </a:xfrm>
            <a:custGeom>
              <a:avLst/>
              <a:gdLst>
                <a:gd name="T0" fmla="*/ 597 w 1962"/>
                <a:gd name="T1" fmla="*/ 1882 h 1900"/>
                <a:gd name="T2" fmla="*/ 769 w 1962"/>
                <a:gd name="T3" fmla="*/ 1217 h 1900"/>
                <a:gd name="T4" fmla="*/ 1696 w 1962"/>
                <a:gd name="T5" fmla="*/ 602 h 1900"/>
                <a:gd name="T6" fmla="*/ 1962 w 1962"/>
                <a:gd name="T7" fmla="*/ 292 h 1900"/>
                <a:gd name="T8" fmla="*/ 1702 w 1962"/>
                <a:gd name="T9" fmla="*/ 0 h 1900"/>
                <a:gd name="T10" fmla="*/ 0 w 1962"/>
                <a:gd name="T11" fmla="*/ 1843 h 1900"/>
                <a:gd name="T12" fmla="*/ 0 w 1962"/>
                <a:gd name="T13" fmla="*/ 1900 h 1900"/>
                <a:gd name="T14" fmla="*/ 305 w 1962"/>
                <a:gd name="T15" fmla="*/ 1628 h 1900"/>
                <a:gd name="T16" fmla="*/ 597 w 1962"/>
                <a:gd name="T17" fmla="*/ 1882 h 1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2" h="1900">
                  <a:moveTo>
                    <a:pt x="597" y="1882"/>
                  </a:moveTo>
                  <a:cubicBezTo>
                    <a:pt x="591" y="1660"/>
                    <a:pt x="642" y="1425"/>
                    <a:pt x="769" y="1217"/>
                  </a:cubicBezTo>
                  <a:cubicBezTo>
                    <a:pt x="972" y="862"/>
                    <a:pt x="1321" y="646"/>
                    <a:pt x="1696" y="602"/>
                  </a:cubicBezTo>
                  <a:cubicBezTo>
                    <a:pt x="1962" y="292"/>
                    <a:pt x="1962" y="292"/>
                    <a:pt x="1962" y="292"/>
                  </a:cubicBezTo>
                  <a:cubicBezTo>
                    <a:pt x="1702" y="0"/>
                    <a:pt x="1702" y="0"/>
                    <a:pt x="1702" y="0"/>
                  </a:cubicBezTo>
                  <a:cubicBezTo>
                    <a:pt x="750" y="77"/>
                    <a:pt x="0" y="874"/>
                    <a:pt x="0" y="1843"/>
                  </a:cubicBezTo>
                  <a:cubicBezTo>
                    <a:pt x="0" y="1863"/>
                    <a:pt x="0" y="1882"/>
                    <a:pt x="0" y="1900"/>
                  </a:cubicBezTo>
                  <a:cubicBezTo>
                    <a:pt x="305" y="1628"/>
                    <a:pt x="305" y="1628"/>
                    <a:pt x="305" y="1628"/>
                  </a:cubicBezTo>
                  <a:cubicBezTo>
                    <a:pt x="597" y="1882"/>
                    <a:pt x="597" y="1882"/>
                    <a:pt x="597" y="1882"/>
                  </a:cubicBezTo>
                  <a:close/>
                </a:path>
              </a:pathLst>
            </a:custGeom>
            <a:solidFill>
              <a:srgbClr val="B3E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gray">
            <a:xfrm>
              <a:off x="-5319713" y="8840788"/>
              <a:ext cx="7335838" cy="7124700"/>
            </a:xfrm>
            <a:custGeom>
              <a:avLst/>
              <a:gdLst>
                <a:gd name="T0" fmla="*/ 1360 w 1956"/>
                <a:gd name="T1" fmla="*/ 0 h 1900"/>
                <a:gd name="T2" fmla="*/ 1188 w 1956"/>
                <a:gd name="T3" fmla="*/ 678 h 1900"/>
                <a:gd name="T4" fmla="*/ 267 w 1956"/>
                <a:gd name="T5" fmla="*/ 1298 h 1900"/>
                <a:gd name="T6" fmla="*/ 0 w 1956"/>
                <a:gd name="T7" fmla="*/ 1602 h 1900"/>
                <a:gd name="T8" fmla="*/ 267 w 1956"/>
                <a:gd name="T9" fmla="*/ 1900 h 1900"/>
                <a:gd name="T10" fmla="*/ 1956 w 1956"/>
                <a:gd name="T11" fmla="*/ 51 h 1900"/>
                <a:gd name="T12" fmla="*/ 1956 w 1956"/>
                <a:gd name="T13" fmla="*/ 0 h 1900"/>
                <a:gd name="T14" fmla="*/ 1658 w 1956"/>
                <a:gd name="T15" fmla="*/ 266 h 1900"/>
                <a:gd name="T16" fmla="*/ 1360 w 1956"/>
                <a:gd name="T17" fmla="*/ 0 h 1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6" h="1900">
                  <a:moveTo>
                    <a:pt x="1360" y="0"/>
                  </a:moveTo>
                  <a:cubicBezTo>
                    <a:pt x="1366" y="235"/>
                    <a:pt x="1315" y="469"/>
                    <a:pt x="1188" y="678"/>
                  </a:cubicBezTo>
                  <a:cubicBezTo>
                    <a:pt x="984" y="1033"/>
                    <a:pt x="642" y="1248"/>
                    <a:pt x="267" y="1298"/>
                  </a:cubicBezTo>
                  <a:cubicBezTo>
                    <a:pt x="0" y="1602"/>
                    <a:pt x="0" y="1602"/>
                    <a:pt x="0" y="1602"/>
                  </a:cubicBezTo>
                  <a:cubicBezTo>
                    <a:pt x="267" y="1900"/>
                    <a:pt x="267" y="1900"/>
                    <a:pt x="267" y="1900"/>
                  </a:cubicBezTo>
                  <a:cubicBezTo>
                    <a:pt x="1213" y="1818"/>
                    <a:pt x="1956" y="1020"/>
                    <a:pt x="1956" y="51"/>
                  </a:cubicBezTo>
                  <a:cubicBezTo>
                    <a:pt x="1956" y="38"/>
                    <a:pt x="1956" y="19"/>
                    <a:pt x="1956" y="0"/>
                  </a:cubicBezTo>
                  <a:cubicBezTo>
                    <a:pt x="1658" y="266"/>
                    <a:pt x="1658" y="266"/>
                    <a:pt x="1658" y="266"/>
                  </a:cubicBezTo>
                  <a:cubicBezTo>
                    <a:pt x="1360" y="0"/>
                    <a:pt x="1360" y="0"/>
                    <a:pt x="136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gray">
            <a:xfrm>
              <a:off x="-5127625" y="2074863"/>
              <a:ext cx="7102475" cy="7339013"/>
            </a:xfrm>
            <a:custGeom>
              <a:avLst/>
              <a:gdLst>
                <a:gd name="T0" fmla="*/ 6 w 1894"/>
                <a:gd name="T1" fmla="*/ 602 h 1957"/>
                <a:gd name="T2" fmla="*/ 678 w 1894"/>
                <a:gd name="T3" fmla="*/ 766 h 1957"/>
                <a:gd name="T4" fmla="*/ 1292 w 1894"/>
                <a:gd name="T5" fmla="*/ 1684 h 1957"/>
                <a:gd name="T6" fmla="*/ 1603 w 1894"/>
                <a:gd name="T7" fmla="*/ 1957 h 1957"/>
                <a:gd name="T8" fmla="*/ 1894 w 1894"/>
                <a:gd name="T9" fmla="*/ 1697 h 1957"/>
                <a:gd name="T10" fmla="*/ 44 w 1894"/>
                <a:gd name="T11" fmla="*/ 0 h 1957"/>
                <a:gd name="T12" fmla="*/ 0 w 1894"/>
                <a:gd name="T13" fmla="*/ 6 h 1957"/>
                <a:gd name="T14" fmla="*/ 266 w 1894"/>
                <a:gd name="T15" fmla="*/ 304 h 1957"/>
                <a:gd name="T16" fmla="*/ 6 w 1894"/>
                <a:gd name="T17" fmla="*/ 602 h 1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94" h="1957">
                  <a:moveTo>
                    <a:pt x="6" y="602"/>
                  </a:moveTo>
                  <a:cubicBezTo>
                    <a:pt x="234" y="596"/>
                    <a:pt x="463" y="646"/>
                    <a:pt x="678" y="766"/>
                  </a:cubicBezTo>
                  <a:cubicBezTo>
                    <a:pt x="1027" y="969"/>
                    <a:pt x="1242" y="1318"/>
                    <a:pt x="1292" y="1684"/>
                  </a:cubicBezTo>
                  <a:cubicBezTo>
                    <a:pt x="1603" y="1957"/>
                    <a:pt x="1603" y="1957"/>
                    <a:pt x="1603" y="1957"/>
                  </a:cubicBezTo>
                  <a:cubicBezTo>
                    <a:pt x="1894" y="1697"/>
                    <a:pt x="1894" y="1697"/>
                    <a:pt x="1894" y="1697"/>
                  </a:cubicBezTo>
                  <a:cubicBezTo>
                    <a:pt x="1818" y="748"/>
                    <a:pt x="1020" y="0"/>
                    <a:pt x="44" y="0"/>
                  </a:cubicBezTo>
                  <a:cubicBezTo>
                    <a:pt x="32" y="0"/>
                    <a:pt x="12" y="6"/>
                    <a:pt x="0" y="6"/>
                  </a:cubicBezTo>
                  <a:cubicBezTo>
                    <a:pt x="266" y="304"/>
                    <a:pt x="266" y="304"/>
                    <a:pt x="266" y="304"/>
                  </a:cubicBezTo>
                  <a:cubicBezTo>
                    <a:pt x="6" y="602"/>
                    <a:pt x="6" y="602"/>
                    <a:pt x="6" y="6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0" name="Rechteck 6"/>
          <p:cNvSpPr/>
          <p:nvPr/>
        </p:nvSpPr>
        <p:spPr bwMode="gray">
          <a:xfrm rot="16200000">
            <a:off x="-464905" y="2328149"/>
            <a:ext cx="2299812" cy="394986"/>
          </a:xfrm>
          <a:prstGeom prst="round2Same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INPUTS</a:t>
            </a:r>
          </a:p>
        </p:txBody>
      </p:sp>
      <p:sp>
        <p:nvSpPr>
          <p:cNvPr id="51" name="Rechteck 6"/>
          <p:cNvSpPr/>
          <p:nvPr/>
        </p:nvSpPr>
        <p:spPr bwMode="gray">
          <a:xfrm rot="16200000">
            <a:off x="-464905" y="4989987"/>
            <a:ext cx="2299812" cy="394986"/>
          </a:xfrm>
          <a:prstGeom prst="round2SameRect">
            <a:avLst/>
          </a:prstGeom>
          <a:gradFill>
            <a:gsLst>
              <a:gs pos="0">
                <a:schemeClr val="tx2">
                  <a:lumMod val="50000"/>
                </a:schemeClr>
              </a:gs>
              <a:gs pos="100000">
                <a:schemeClr val="tx2"/>
              </a:gs>
            </a:gsLst>
            <a:lin ang="5400000" scaled="0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PECTATIONS</a:t>
            </a:r>
          </a:p>
        </p:txBody>
      </p:sp>
      <p:sp>
        <p:nvSpPr>
          <p:cNvPr id="19" name="Textplatzhalter 12"/>
          <p:cNvSpPr txBox="1">
            <a:spLocks/>
          </p:cNvSpPr>
          <p:nvPr/>
        </p:nvSpPr>
        <p:spPr bwMode="gray">
          <a:xfrm>
            <a:off x="1249450" y="1352940"/>
            <a:ext cx="3614116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lIns="0" tIns="0" rIns="0" bIns="0" anchor="ctr"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47">
              <a:spcAft>
                <a:spcPts val="600"/>
              </a:spcAft>
              <a:buNone/>
            </a:pPr>
            <a:r>
              <a:rPr lang="en-US" sz="1800" b="1" dirty="0">
                <a:solidFill>
                  <a:schemeClr val="accent1"/>
                </a:solidFill>
              </a:rPr>
              <a:t>INPUTS</a:t>
            </a:r>
          </a:p>
          <a:p>
            <a:pPr marL="216000" lvl="2" indent="-216000" defTabSz="914447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  <a:p>
            <a:pPr marL="216000" lvl="2" indent="-216000" defTabSz="914447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216000" lvl="2" indent="-216000" defTabSz="914447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</p:txBody>
      </p:sp>
      <p:sp>
        <p:nvSpPr>
          <p:cNvPr id="20" name="Textplatzhalter 12"/>
          <p:cNvSpPr txBox="1">
            <a:spLocks/>
          </p:cNvSpPr>
          <p:nvPr/>
        </p:nvSpPr>
        <p:spPr bwMode="gray">
          <a:xfrm>
            <a:off x="1249450" y="4307621"/>
            <a:ext cx="3614116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EXPECTATIONS</a:t>
            </a:r>
          </a:p>
          <a:p>
            <a:pPr marL="216000" lvl="2" indent="-216000">
              <a:lnSpc>
                <a:spcPct val="9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  <a:p>
            <a:pPr marL="216000" lvl="2" indent="-216000">
              <a:lnSpc>
                <a:spcPct val="9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216000" lvl="2" indent="-216000">
              <a:lnSpc>
                <a:spcPct val="9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</p:txBody>
      </p:sp>
      <p:sp>
        <p:nvSpPr>
          <p:cNvPr id="28" name="Rechteck 6"/>
          <p:cNvSpPr/>
          <p:nvPr/>
        </p:nvSpPr>
        <p:spPr bwMode="gray">
          <a:xfrm rot="5400000" flipH="1">
            <a:off x="10355505" y="2328149"/>
            <a:ext cx="2299812" cy="394986"/>
          </a:xfrm>
          <a:prstGeom prst="round2SameRect">
            <a:avLst/>
          </a:prstGeom>
          <a:gradFill>
            <a:gsLst>
              <a:gs pos="0">
                <a:schemeClr val="accent1">
                  <a:lumMod val="90000"/>
                  <a:lumOff val="10000"/>
                </a:schemeClr>
              </a:gs>
              <a:gs pos="100000">
                <a:schemeClr val="accent1">
                  <a:lumMod val="75000"/>
                  <a:lumOff val="25000"/>
                </a:schemeClr>
              </a:gs>
            </a:gsLst>
            <a:lin ang="5400000" scaled="0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SPIRATIONS</a:t>
            </a:r>
          </a:p>
        </p:txBody>
      </p:sp>
      <p:sp>
        <p:nvSpPr>
          <p:cNvPr id="29" name="Rechteck 6"/>
          <p:cNvSpPr/>
          <p:nvPr/>
        </p:nvSpPr>
        <p:spPr bwMode="gray">
          <a:xfrm rot="5400000" flipH="1">
            <a:off x="10355505" y="4989987"/>
            <a:ext cx="2299812" cy="394986"/>
          </a:xfrm>
          <a:prstGeom prst="round2Same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100000">
                <a:schemeClr val="accent4"/>
              </a:gs>
            </a:gsLst>
            <a:lin ang="5400000" scaled="0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ACTICS</a:t>
            </a:r>
          </a:p>
        </p:txBody>
      </p:sp>
      <p:sp>
        <p:nvSpPr>
          <p:cNvPr id="31" name="Textplatzhalter 12"/>
          <p:cNvSpPr txBox="1">
            <a:spLocks/>
          </p:cNvSpPr>
          <p:nvPr/>
        </p:nvSpPr>
        <p:spPr bwMode="gray">
          <a:xfrm flipH="1">
            <a:off x="7326846" y="1352940"/>
            <a:ext cx="3614116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lIns="0" tIns="0" rIns="0" bIns="0" anchor="ctr"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47">
              <a:spcAft>
                <a:spcPts val="600"/>
              </a:spcAft>
              <a:buNone/>
            </a:pPr>
            <a:r>
              <a:rPr lang="en-US" sz="1800" b="1" dirty="0">
                <a:solidFill>
                  <a:schemeClr val="accent1"/>
                </a:solidFill>
              </a:rPr>
              <a:t>ASPIRATIONS</a:t>
            </a:r>
          </a:p>
          <a:p>
            <a:pPr marL="216000" lvl="2" indent="-216000" defTabSz="914447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  <a:p>
            <a:pPr marL="216000" lvl="2" indent="-216000" defTabSz="914447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216000" lvl="2" indent="-216000" defTabSz="914447"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</p:txBody>
      </p:sp>
      <p:sp>
        <p:nvSpPr>
          <p:cNvPr id="33" name="Textplatzhalter 12"/>
          <p:cNvSpPr txBox="1">
            <a:spLocks/>
          </p:cNvSpPr>
          <p:nvPr/>
        </p:nvSpPr>
        <p:spPr bwMode="gray">
          <a:xfrm flipH="1">
            <a:off x="7326846" y="4307621"/>
            <a:ext cx="3614116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TACTICS</a:t>
            </a:r>
          </a:p>
          <a:p>
            <a:pPr marL="216000" lvl="2" indent="-216000">
              <a:lnSpc>
                <a:spcPct val="9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  <a:p>
            <a:pPr marL="216000" lvl="2" indent="-216000">
              <a:lnSpc>
                <a:spcPct val="9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216000" lvl="2" indent="-216000">
              <a:lnSpc>
                <a:spcPct val="9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882495" y="3570618"/>
            <a:ext cx="4477362" cy="0"/>
          </a:xfrm>
          <a:prstGeom prst="straightConnector1">
            <a:avLst/>
          </a:prstGeom>
          <a:ln>
            <a:solidFill>
              <a:srgbClr val="B3E9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882495" y="4139497"/>
            <a:ext cx="4477362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H="1">
            <a:off x="6830555" y="3570618"/>
            <a:ext cx="4477362" cy="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H="1">
            <a:off x="6830555" y="4139497"/>
            <a:ext cx="4477362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25571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rganiz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48" name="Rechteck 17"/>
          <p:cNvSpPr/>
          <p:nvPr/>
        </p:nvSpPr>
        <p:spPr bwMode="gray">
          <a:xfrm>
            <a:off x="4299516" y="1770079"/>
            <a:ext cx="3528000" cy="468000"/>
          </a:xfrm>
          <a:prstGeom prst="roundRect">
            <a:avLst>
              <a:gd name="adj" fmla="val 24642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VP</a:t>
            </a:r>
          </a:p>
        </p:txBody>
      </p:sp>
      <p:cxnSp>
        <p:nvCxnSpPr>
          <p:cNvPr id="105" name="Gerader Verbinder 15"/>
          <p:cNvCxnSpPr/>
          <p:nvPr/>
        </p:nvCxnSpPr>
        <p:spPr bwMode="gray">
          <a:xfrm>
            <a:off x="6068006" y="2238093"/>
            <a:ext cx="0" cy="45318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Gruppieren 3"/>
          <p:cNvGrpSpPr/>
          <p:nvPr/>
        </p:nvGrpSpPr>
        <p:grpSpPr bwMode="gray">
          <a:xfrm>
            <a:off x="1033849" y="2238079"/>
            <a:ext cx="10061219" cy="1691443"/>
            <a:chOff x="1061842" y="2238079"/>
            <a:chExt cx="10061219" cy="1691443"/>
          </a:xfrm>
        </p:grpSpPr>
        <p:cxnSp>
          <p:nvCxnSpPr>
            <p:cNvPr id="116" name="Gerader Verbinder 17"/>
            <p:cNvCxnSpPr/>
            <p:nvPr/>
          </p:nvCxnSpPr>
          <p:spPr bwMode="gray">
            <a:xfrm rot="5400000">
              <a:off x="3844322" y="439571"/>
              <a:ext cx="453183" cy="4050200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r Verbinder 19"/>
            <p:cNvCxnSpPr/>
            <p:nvPr/>
          </p:nvCxnSpPr>
          <p:spPr bwMode="gray">
            <a:xfrm rot="16200000" flipH="1">
              <a:off x="7890968" y="443123"/>
              <a:ext cx="453183" cy="4043095"/>
            </a:xfrm>
            <a:prstGeom prst="bentConnector3">
              <a:avLst>
                <a:gd name="adj1" fmla="val 50000"/>
              </a:avLst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r Verbinder 29"/>
            <p:cNvCxnSpPr>
              <a:endCxn id="107" idx="0"/>
            </p:cNvCxnSpPr>
            <p:nvPr/>
          </p:nvCxnSpPr>
          <p:spPr bwMode="gray">
            <a:xfrm>
              <a:off x="2045799" y="3091374"/>
              <a:ext cx="2" cy="838148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r Verbinder 31"/>
            <p:cNvCxnSpPr>
              <a:endCxn id="101" idx="0"/>
            </p:cNvCxnSpPr>
            <p:nvPr/>
          </p:nvCxnSpPr>
          <p:spPr bwMode="gray">
            <a:xfrm rot="10800000" flipV="1">
              <a:off x="1061842" y="3091386"/>
              <a:ext cx="983963" cy="838136"/>
            </a:xfrm>
            <a:prstGeom prst="bentConnector2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r Verbinder 33"/>
            <p:cNvCxnSpPr>
              <a:endCxn id="111" idx="0"/>
            </p:cNvCxnSpPr>
            <p:nvPr/>
          </p:nvCxnSpPr>
          <p:spPr bwMode="gray">
            <a:xfrm>
              <a:off x="2045799" y="3091372"/>
              <a:ext cx="983962" cy="838150"/>
            </a:xfrm>
            <a:prstGeom prst="bentConnector2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r Verbinder 35"/>
            <p:cNvCxnSpPr>
              <a:endCxn id="108" idx="0"/>
            </p:cNvCxnSpPr>
            <p:nvPr/>
          </p:nvCxnSpPr>
          <p:spPr bwMode="gray">
            <a:xfrm>
              <a:off x="6095999" y="3091374"/>
              <a:ext cx="2" cy="838148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r Verbinder 37"/>
            <p:cNvCxnSpPr>
              <a:endCxn id="103" idx="0"/>
            </p:cNvCxnSpPr>
            <p:nvPr/>
          </p:nvCxnSpPr>
          <p:spPr bwMode="gray">
            <a:xfrm rot="10800000" flipV="1">
              <a:off x="5112042" y="3091386"/>
              <a:ext cx="983963" cy="838136"/>
            </a:xfrm>
            <a:prstGeom prst="bentConnector2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r Verbinder 39"/>
            <p:cNvCxnSpPr>
              <a:endCxn id="113" idx="0"/>
            </p:cNvCxnSpPr>
            <p:nvPr/>
          </p:nvCxnSpPr>
          <p:spPr bwMode="gray">
            <a:xfrm>
              <a:off x="6095999" y="3091372"/>
              <a:ext cx="983966" cy="838150"/>
            </a:xfrm>
            <a:prstGeom prst="bentConnector2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r Verbinder 41"/>
            <p:cNvCxnSpPr>
              <a:endCxn id="110" idx="0"/>
            </p:cNvCxnSpPr>
            <p:nvPr/>
          </p:nvCxnSpPr>
          <p:spPr bwMode="gray">
            <a:xfrm>
              <a:off x="10139095" y="3091374"/>
              <a:ext cx="2" cy="838148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r Verbinder 43"/>
            <p:cNvCxnSpPr>
              <a:endCxn id="104" idx="0"/>
            </p:cNvCxnSpPr>
            <p:nvPr/>
          </p:nvCxnSpPr>
          <p:spPr bwMode="gray">
            <a:xfrm rot="10800000" flipV="1">
              <a:off x="9155138" y="3091386"/>
              <a:ext cx="983963" cy="838136"/>
            </a:xfrm>
            <a:prstGeom prst="bentConnector2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r Verbinder 45"/>
            <p:cNvCxnSpPr>
              <a:endCxn id="114" idx="0"/>
            </p:cNvCxnSpPr>
            <p:nvPr/>
          </p:nvCxnSpPr>
          <p:spPr bwMode="gray">
            <a:xfrm>
              <a:off x="10139095" y="3091372"/>
              <a:ext cx="983966" cy="838150"/>
            </a:xfrm>
            <a:prstGeom prst="bentConnector2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Rechteck 17"/>
          <p:cNvSpPr/>
          <p:nvPr/>
        </p:nvSpPr>
        <p:spPr bwMode="gray">
          <a:xfrm rot="5400000">
            <a:off x="1783819" y="1640616"/>
            <a:ext cx="468000" cy="2501399"/>
          </a:xfrm>
          <a:prstGeom prst="round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vert="vert270" lIns="108000" tIns="72000" rIns="108000" bIns="72000" anchor="ctr"/>
          <a:lstStyle/>
          <a:p>
            <a:pPr algn="ctr" defTabSz="1221456">
              <a:buClr>
                <a:schemeClr val="accent2"/>
              </a:buClr>
              <a:buSzPct val="110000"/>
            </a:pP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DIRECTOR</a:t>
            </a:r>
          </a:p>
        </p:txBody>
      </p:sp>
      <p:sp>
        <p:nvSpPr>
          <p:cNvPr id="98" name="Rechteck 17"/>
          <p:cNvSpPr/>
          <p:nvPr/>
        </p:nvSpPr>
        <p:spPr bwMode="gray">
          <a:xfrm rot="5400000">
            <a:off x="5834005" y="1640618"/>
            <a:ext cx="468000" cy="2501399"/>
          </a:xfrm>
          <a:prstGeom prst="round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vert="vert270" lIns="108000" tIns="72000" rIns="108000" bIns="72000" anchor="ctr"/>
          <a:lstStyle/>
          <a:p>
            <a:pPr algn="ctr" defTabSz="1221456">
              <a:buClr>
                <a:schemeClr val="accent2"/>
              </a:buClr>
              <a:buSzPct val="110000"/>
            </a:pP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DIRECTOR</a:t>
            </a:r>
          </a:p>
        </p:txBody>
      </p:sp>
      <p:sp>
        <p:nvSpPr>
          <p:cNvPr id="100" name="Rechteck 17"/>
          <p:cNvSpPr/>
          <p:nvPr/>
        </p:nvSpPr>
        <p:spPr bwMode="gray">
          <a:xfrm rot="5400000">
            <a:off x="9877101" y="1640620"/>
            <a:ext cx="468000" cy="2501399"/>
          </a:xfrm>
          <a:prstGeom prst="round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vert="vert270" lIns="108000" tIns="72000" rIns="108000" bIns="72000" anchor="ctr"/>
          <a:lstStyle/>
          <a:p>
            <a:pPr algn="ctr" defTabSz="1221456">
              <a:buClr>
                <a:schemeClr val="accent2"/>
              </a:buClr>
              <a:buSzPct val="110000"/>
            </a:pP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DIRECTOR</a:t>
            </a:r>
          </a:p>
        </p:txBody>
      </p:sp>
      <p:sp>
        <p:nvSpPr>
          <p:cNvPr id="101" name="Textplatzhalter 10"/>
          <p:cNvSpPr txBox="1">
            <a:spLocks/>
          </p:cNvSpPr>
          <p:nvPr/>
        </p:nvSpPr>
        <p:spPr bwMode="gray">
          <a:xfrm>
            <a:off x="615110" y="3929522"/>
            <a:ext cx="837476" cy="923326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</p:txBody>
      </p:sp>
      <p:sp>
        <p:nvSpPr>
          <p:cNvPr id="103" name="Textplatzhalter 10"/>
          <p:cNvSpPr txBox="1">
            <a:spLocks/>
          </p:cNvSpPr>
          <p:nvPr/>
        </p:nvSpPr>
        <p:spPr bwMode="gray">
          <a:xfrm>
            <a:off x="4665310" y="3929522"/>
            <a:ext cx="837476" cy="923326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</p:txBody>
      </p:sp>
      <p:sp>
        <p:nvSpPr>
          <p:cNvPr id="104" name="Textplatzhalter 10"/>
          <p:cNvSpPr txBox="1">
            <a:spLocks/>
          </p:cNvSpPr>
          <p:nvPr/>
        </p:nvSpPr>
        <p:spPr bwMode="gray">
          <a:xfrm>
            <a:off x="8708406" y="3929522"/>
            <a:ext cx="837476" cy="923326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</p:txBody>
      </p:sp>
      <p:sp>
        <p:nvSpPr>
          <p:cNvPr id="107" name="Textplatzhalter 10"/>
          <p:cNvSpPr txBox="1">
            <a:spLocks/>
          </p:cNvSpPr>
          <p:nvPr/>
        </p:nvSpPr>
        <p:spPr bwMode="gray">
          <a:xfrm>
            <a:off x="1599070" y="3929522"/>
            <a:ext cx="837476" cy="923326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</p:txBody>
      </p:sp>
      <p:sp>
        <p:nvSpPr>
          <p:cNvPr id="108" name="Textplatzhalter 10"/>
          <p:cNvSpPr txBox="1">
            <a:spLocks/>
          </p:cNvSpPr>
          <p:nvPr/>
        </p:nvSpPr>
        <p:spPr bwMode="gray">
          <a:xfrm>
            <a:off x="5649270" y="3929522"/>
            <a:ext cx="837476" cy="923326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</p:txBody>
      </p:sp>
      <p:sp>
        <p:nvSpPr>
          <p:cNvPr id="110" name="Textplatzhalter 10"/>
          <p:cNvSpPr txBox="1">
            <a:spLocks/>
          </p:cNvSpPr>
          <p:nvPr/>
        </p:nvSpPr>
        <p:spPr bwMode="gray">
          <a:xfrm>
            <a:off x="9692366" y="3929522"/>
            <a:ext cx="837476" cy="892548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</p:txBody>
      </p:sp>
      <p:sp>
        <p:nvSpPr>
          <p:cNvPr id="111" name="Textplatzhalter 10"/>
          <p:cNvSpPr txBox="1">
            <a:spLocks/>
          </p:cNvSpPr>
          <p:nvPr/>
        </p:nvSpPr>
        <p:spPr bwMode="gray">
          <a:xfrm>
            <a:off x="2583030" y="3929522"/>
            <a:ext cx="837476" cy="923326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</p:txBody>
      </p:sp>
      <p:sp>
        <p:nvSpPr>
          <p:cNvPr id="113" name="Textplatzhalter 10"/>
          <p:cNvSpPr txBox="1">
            <a:spLocks/>
          </p:cNvSpPr>
          <p:nvPr/>
        </p:nvSpPr>
        <p:spPr bwMode="gray">
          <a:xfrm>
            <a:off x="6633234" y="3929522"/>
            <a:ext cx="837476" cy="892548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</p:txBody>
      </p:sp>
      <p:sp>
        <p:nvSpPr>
          <p:cNvPr id="114" name="Textplatzhalter 10"/>
          <p:cNvSpPr txBox="1">
            <a:spLocks/>
          </p:cNvSpPr>
          <p:nvPr/>
        </p:nvSpPr>
        <p:spPr bwMode="gray">
          <a:xfrm>
            <a:off x="10676330" y="3929522"/>
            <a:ext cx="837476" cy="892548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  <a:p>
            <a:pPr algn="ctr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588506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rganiz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4</a:t>
            </a:fld>
            <a:endParaRPr lang="en-US" dirty="0"/>
          </a:p>
        </p:txBody>
      </p:sp>
      <p:cxnSp>
        <p:nvCxnSpPr>
          <p:cNvPr id="96" name="Gerader Verbinder 84"/>
          <p:cNvCxnSpPr/>
          <p:nvPr/>
        </p:nvCxnSpPr>
        <p:spPr bwMode="gray">
          <a:xfrm>
            <a:off x="6068006" y="2662496"/>
            <a:ext cx="705736" cy="0"/>
          </a:xfrm>
          <a:prstGeom prst="line">
            <a:avLst/>
          </a:prstGeom>
          <a:ln w="6350">
            <a:solidFill>
              <a:schemeClr val="accent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15"/>
          <p:cNvCxnSpPr/>
          <p:nvPr/>
        </p:nvCxnSpPr>
        <p:spPr bwMode="gray">
          <a:xfrm>
            <a:off x="6068006" y="2238080"/>
            <a:ext cx="0" cy="88612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82"/>
          <p:cNvCxnSpPr/>
          <p:nvPr/>
        </p:nvCxnSpPr>
        <p:spPr bwMode="gray">
          <a:xfrm>
            <a:off x="750274" y="3124200"/>
            <a:ext cx="951189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platzhalter 10"/>
          <p:cNvSpPr txBox="1">
            <a:spLocks/>
          </p:cNvSpPr>
          <p:nvPr/>
        </p:nvSpPr>
        <p:spPr bwMode="gray">
          <a:xfrm>
            <a:off x="901349" y="3748536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</a:p>
        </p:txBody>
      </p:sp>
      <p:sp>
        <p:nvSpPr>
          <p:cNvPr id="109" name="Textplatzhalter 10"/>
          <p:cNvSpPr txBox="1">
            <a:spLocks/>
          </p:cNvSpPr>
          <p:nvPr/>
        </p:nvSpPr>
        <p:spPr bwMode="gray">
          <a:xfrm>
            <a:off x="901349" y="417464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kern="1200" cap="all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</a:p>
        </p:txBody>
      </p:sp>
      <p:sp>
        <p:nvSpPr>
          <p:cNvPr id="112" name="Textplatzhalter 10"/>
          <p:cNvSpPr txBox="1">
            <a:spLocks/>
          </p:cNvSpPr>
          <p:nvPr/>
        </p:nvSpPr>
        <p:spPr bwMode="gray">
          <a:xfrm>
            <a:off x="901349" y="4600760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17" name="Textplatzhalter 10"/>
          <p:cNvSpPr txBox="1">
            <a:spLocks/>
          </p:cNvSpPr>
          <p:nvPr/>
        </p:nvSpPr>
        <p:spPr bwMode="gray">
          <a:xfrm>
            <a:off x="901349" y="5026872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20" name="Textplatzhalter 10"/>
          <p:cNvSpPr txBox="1">
            <a:spLocks/>
          </p:cNvSpPr>
          <p:nvPr/>
        </p:nvSpPr>
        <p:spPr bwMode="gray">
          <a:xfrm>
            <a:off x="901349" y="545298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cxnSp>
        <p:nvCxnSpPr>
          <p:cNvPr id="123" name="Gerader Verbinder 90"/>
          <p:cNvCxnSpPr/>
          <p:nvPr/>
        </p:nvCxnSpPr>
        <p:spPr bwMode="gray">
          <a:xfrm>
            <a:off x="752953" y="3717151"/>
            <a:ext cx="0" cy="1905112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r Verbinder 94"/>
          <p:cNvCxnSpPr/>
          <p:nvPr/>
        </p:nvCxnSpPr>
        <p:spPr bwMode="gray">
          <a:xfrm>
            <a:off x="752955" y="5622263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r Verbinder 96"/>
          <p:cNvCxnSpPr/>
          <p:nvPr/>
        </p:nvCxnSpPr>
        <p:spPr bwMode="gray">
          <a:xfrm>
            <a:off x="752955" y="5196150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r Verbinder 97"/>
          <p:cNvCxnSpPr/>
          <p:nvPr/>
        </p:nvCxnSpPr>
        <p:spPr bwMode="gray">
          <a:xfrm>
            <a:off x="752955" y="4770038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r Verbinder 98"/>
          <p:cNvCxnSpPr/>
          <p:nvPr/>
        </p:nvCxnSpPr>
        <p:spPr bwMode="gray">
          <a:xfrm>
            <a:off x="752955" y="4343926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r Verbinder 99"/>
          <p:cNvCxnSpPr/>
          <p:nvPr/>
        </p:nvCxnSpPr>
        <p:spPr bwMode="gray">
          <a:xfrm>
            <a:off x="752955" y="3917814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r Verbinder 153"/>
          <p:cNvCxnSpPr/>
          <p:nvPr/>
        </p:nvCxnSpPr>
        <p:spPr bwMode="gray">
          <a:xfrm>
            <a:off x="752953" y="3124216"/>
            <a:ext cx="0" cy="15630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Rechteck 17"/>
          <p:cNvSpPr/>
          <p:nvPr/>
        </p:nvSpPr>
        <p:spPr bwMode="gray">
          <a:xfrm>
            <a:off x="4299516" y="1770079"/>
            <a:ext cx="3528000" cy="468000"/>
          </a:xfrm>
          <a:prstGeom prst="roundRect">
            <a:avLst>
              <a:gd name="adj" fmla="val 24642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VP</a:t>
            </a:r>
          </a:p>
        </p:txBody>
      </p:sp>
      <p:sp>
        <p:nvSpPr>
          <p:cNvPr id="151" name="Rechteck 17"/>
          <p:cNvSpPr/>
          <p:nvPr/>
        </p:nvSpPr>
        <p:spPr bwMode="gray">
          <a:xfrm>
            <a:off x="6839127" y="2486741"/>
            <a:ext cx="1061456" cy="3567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stant</a:t>
            </a:r>
          </a:p>
        </p:txBody>
      </p:sp>
      <p:sp>
        <p:nvSpPr>
          <p:cNvPr id="154" name="Rechteck 17"/>
          <p:cNvSpPr/>
          <p:nvPr/>
        </p:nvSpPr>
        <p:spPr bwMode="gray">
          <a:xfrm rot="5400000">
            <a:off x="1221437" y="2767361"/>
            <a:ext cx="515660" cy="1431580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vert="vert270" lIns="108000" tIns="72000" rIns="108000" bIns="72000" anchor="ctr"/>
          <a:lstStyle/>
          <a:p>
            <a:pPr algn="ctr" defTabSz="1221456">
              <a:buClr>
                <a:schemeClr val="accent2"/>
              </a:buClr>
              <a:buSzPct val="110000"/>
            </a:pPr>
            <a:endParaRPr lang="en-US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59" name="Textplatzhalter 10"/>
          <p:cNvSpPr txBox="1">
            <a:spLocks/>
          </p:cNvSpPr>
          <p:nvPr/>
        </p:nvSpPr>
        <p:spPr bwMode="gray">
          <a:xfrm>
            <a:off x="2710271" y="3748536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62" name="Textplatzhalter 10"/>
          <p:cNvSpPr txBox="1">
            <a:spLocks/>
          </p:cNvSpPr>
          <p:nvPr/>
        </p:nvSpPr>
        <p:spPr bwMode="gray">
          <a:xfrm>
            <a:off x="2710271" y="417464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65" name="Textplatzhalter 10"/>
          <p:cNvSpPr txBox="1">
            <a:spLocks/>
          </p:cNvSpPr>
          <p:nvPr/>
        </p:nvSpPr>
        <p:spPr bwMode="gray">
          <a:xfrm>
            <a:off x="2710271" y="4600760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69" name="Textplatzhalter 10"/>
          <p:cNvSpPr txBox="1">
            <a:spLocks/>
          </p:cNvSpPr>
          <p:nvPr/>
        </p:nvSpPr>
        <p:spPr bwMode="gray">
          <a:xfrm>
            <a:off x="2710271" y="5026872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72" name="Textplatzhalter 10"/>
          <p:cNvSpPr txBox="1">
            <a:spLocks/>
          </p:cNvSpPr>
          <p:nvPr/>
        </p:nvSpPr>
        <p:spPr bwMode="gray">
          <a:xfrm>
            <a:off x="2710271" y="545298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cxnSp>
        <p:nvCxnSpPr>
          <p:cNvPr id="175" name="Gerader Verbinder 90"/>
          <p:cNvCxnSpPr/>
          <p:nvPr/>
        </p:nvCxnSpPr>
        <p:spPr bwMode="gray">
          <a:xfrm>
            <a:off x="2561875" y="3717151"/>
            <a:ext cx="0" cy="1905112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Gerader Verbinder 94"/>
          <p:cNvCxnSpPr/>
          <p:nvPr/>
        </p:nvCxnSpPr>
        <p:spPr bwMode="gray">
          <a:xfrm>
            <a:off x="2561877" y="5622263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r Verbinder 96"/>
          <p:cNvCxnSpPr/>
          <p:nvPr/>
        </p:nvCxnSpPr>
        <p:spPr bwMode="gray">
          <a:xfrm>
            <a:off x="2561877" y="5196150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r Verbinder 97"/>
          <p:cNvCxnSpPr/>
          <p:nvPr/>
        </p:nvCxnSpPr>
        <p:spPr bwMode="gray">
          <a:xfrm>
            <a:off x="2561877" y="4770038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r Verbinder 98"/>
          <p:cNvCxnSpPr/>
          <p:nvPr/>
        </p:nvCxnSpPr>
        <p:spPr bwMode="gray">
          <a:xfrm>
            <a:off x="2561877" y="4343926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r Verbinder 99"/>
          <p:cNvCxnSpPr/>
          <p:nvPr/>
        </p:nvCxnSpPr>
        <p:spPr bwMode="gray">
          <a:xfrm>
            <a:off x="2561877" y="3917814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r Verbinder 153"/>
          <p:cNvCxnSpPr/>
          <p:nvPr/>
        </p:nvCxnSpPr>
        <p:spPr bwMode="gray">
          <a:xfrm>
            <a:off x="2561875" y="3124216"/>
            <a:ext cx="0" cy="15630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Rechteck 17"/>
          <p:cNvSpPr/>
          <p:nvPr/>
        </p:nvSpPr>
        <p:spPr bwMode="gray">
          <a:xfrm rot="5400000">
            <a:off x="3030359" y="2767361"/>
            <a:ext cx="515660" cy="1431580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vert="vert270" lIns="108000" tIns="72000" rIns="108000" bIns="72000" anchor="ctr"/>
          <a:lstStyle/>
          <a:p>
            <a:pPr algn="ctr" defTabSz="1221456">
              <a:buClr>
                <a:schemeClr val="accent2"/>
              </a:buClr>
              <a:buSzPct val="110000"/>
            </a:pPr>
            <a:endParaRPr lang="en-US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90" name="Textplatzhalter 10"/>
          <p:cNvSpPr txBox="1">
            <a:spLocks/>
          </p:cNvSpPr>
          <p:nvPr/>
        </p:nvSpPr>
        <p:spPr bwMode="gray">
          <a:xfrm>
            <a:off x="4705033" y="3748536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91" name="Textplatzhalter 10"/>
          <p:cNvSpPr txBox="1">
            <a:spLocks/>
          </p:cNvSpPr>
          <p:nvPr/>
        </p:nvSpPr>
        <p:spPr bwMode="gray">
          <a:xfrm>
            <a:off x="4705033" y="417464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92" name="Textplatzhalter 10"/>
          <p:cNvSpPr txBox="1">
            <a:spLocks/>
          </p:cNvSpPr>
          <p:nvPr/>
        </p:nvSpPr>
        <p:spPr bwMode="gray">
          <a:xfrm>
            <a:off x="4705033" y="4600760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93" name="Textplatzhalter 10"/>
          <p:cNvSpPr txBox="1">
            <a:spLocks/>
          </p:cNvSpPr>
          <p:nvPr/>
        </p:nvSpPr>
        <p:spPr bwMode="gray">
          <a:xfrm>
            <a:off x="4705033" y="5026872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94" name="Textplatzhalter 10"/>
          <p:cNvSpPr txBox="1">
            <a:spLocks/>
          </p:cNvSpPr>
          <p:nvPr/>
        </p:nvSpPr>
        <p:spPr bwMode="gray">
          <a:xfrm>
            <a:off x="4705033" y="545298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cxnSp>
        <p:nvCxnSpPr>
          <p:cNvPr id="195" name="Gerader Verbinder 90"/>
          <p:cNvCxnSpPr/>
          <p:nvPr/>
        </p:nvCxnSpPr>
        <p:spPr bwMode="gray">
          <a:xfrm>
            <a:off x="4556637" y="3717151"/>
            <a:ext cx="0" cy="1905112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Gerader Verbinder 94"/>
          <p:cNvCxnSpPr/>
          <p:nvPr/>
        </p:nvCxnSpPr>
        <p:spPr bwMode="gray">
          <a:xfrm>
            <a:off x="4556639" y="5622263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Gerader Verbinder 96"/>
          <p:cNvCxnSpPr/>
          <p:nvPr/>
        </p:nvCxnSpPr>
        <p:spPr bwMode="gray">
          <a:xfrm>
            <a:off x="4556639" y="5196150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Gerader Verbinder 97"/>
          <p:cNvCxnSpPr/>
          <p:nvPr/>
        </p:nvCxnSpPr>
        <p:spPr bwMode="gray">
          <a:xfrm>
            <a:off x="4556639" y="4770038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Gerader Verbinder 98"/>
          <p:cNvCxnSpPr/>
          <p:nvPr/>
        </p:nvCxnSpPr>
        <p:spPr bwMode="gray">
          <a:xfrm>
            <a:off x="4556639" y="4343926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r Verbinder 99"/>
          <p:cNvCxnSpPr/>
          <p:nvPr/>
        </p:nvCxnSpPr>
        <p:spPr bwMode="gray">
          <a:xfrm>
            <a:off x="4556639" y="3917814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r Verbinder 153"/>
          <p:cNvCxnSpPr/>
          <p:nvPr/>
        </p:nvCxnSpPr>
        <p:spPr bwMode="gray">
          <a:xfrm>
            <a:off x="4556637" y="3124216"/>
            <a:ext cx="0" cy="15630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extplatzhalter 10"/>
          <p:cNvSpPr txBox="1">
            <a:spLocks/>
          </p:cNvSpPr>
          <p:nvPr/>
        </p:nvSpPr>
        <p:spPr bwMode="gray">
          <a:xfrm>
            <a:off x="6606875" y="3748536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03" name="Textplatzhalter 10"/>
          <p:cNvSpPr txBox="1">
            <a:spLocks/>
          </p:cNvSpPr>
          <p:nvPr/>
        </p:nvSpPr>
        <p:spPr bwMode="gray">
          <a:xfrm>
            <a:off x="6606875" y="417464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04" name="Textplatzhalter 10"/>
          <p:cNvSpPr txBox="1">
            <a:spLocks/>
          </p:cNvSpPr>
          <p:nvPr/>
        </p:nvSpPr>
        <p:spPr bwMode="gray">
          <a:xfrm>
            <a:off x="6606875" y="4600760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05" name="Textplatzhalter 10"/>
          <p:cNvSpPr txBox="1">
            <a:spLocks/>
          </p:cNvSpPr>
          <p:nvPr/>
        </p:nvSpPr>
        <p:spPr bwMode="gray">
          <a:xfrm>
            <a:off x="6606875" y="5026872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06" name="Textplatzhalter 10"/>
          <p:cNvSpPr txBox="1">
            <a:spLocks/>
          </p:cNvSpPr>
          <p:nvPr/>
        </p:nvSpPr>
        <p:spPr bwMode="gray">
          <a:xfrm>
            <a:off x="6606875" y="545298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cxnSp>
        <p:nvCxnSpPr>
          <p:cNvPr id="207" name="Gerader Verbinder 90"/>
          <p:cNvCxnSpPr/>
          <p:nvPr/>
        </p:nvCxnSpPr>
        <p:spPr bwMode="gray">
          <a:xfrm>
            <a:off x="6458479" y="3717151"/>
            <a:ext cx="0" cy="1905112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r Verbinder 94"/>
          <p:cNvCxnSpPr/>
          <p:nvPr/>
        </p:nvCxnSpPr>
        <p:spPr bwMode="gray">
          <a:xfrm>
            <a:off x="6458481" y="5622263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Gerader Verbinder 96"/>
          <p:cNvCxnSpPr/>
          <p:nvPr/>
        </p:nvCxnSpPr>
        <p:spPr bwMode="gray">
          <a:xfrm>
            <a:off x="6458481" y="5196150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r Verbinder 97"/>
          <p:cNvCxnSpPr/>
          <p:nvPr/>
        </p:nvCxnSpPr>
        <p:spPr bwMode="gray">
          <a:xfrm>
            <a:off x="6458481" y="4770038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r Verbinder 98"/>
          <p:cNvCxnSpPr/>
          <p:nvPr/>
        </p:nvCxnSpPr>
        <p:spPr bwMode="gray">
          <a:xfrm>
            <a:off x="6458481" y="4343926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r Verbinder 99"/>
          <p:cNvCxnSpPr/>
          <p:nvPr/>
        </p:nvCxnSpPr>
        <p:spPr bwMode="gray">
          <a:xfrm>
            <a:off x="6458481" y="3917814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r Verbinder 153"/>
          <p:cNvCxnSpPr/>
          <p:nvPr/>
        </p:nvCxnSpPr>
        <p:spPr bwMode="gray">
          <a:xfrm>
            <a:off x="6458479" y="3124216"/>
            <a:ext cx="0" cy="15630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platzhalter 10"/>
          <p:cNvSpPr txBox="1">
            <a:spLocks/>
          </p:cNvSpPr>
          <p:nvPr/>
        </p:nvSpPr>
        <p:spPr bwMode="gray">
          <a:xfrm>
            <a:off x="8508252" y="3748536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15" name="Textplatzhalter 10"/>
          <p:cNvSpPr txBox="1">
            <a:spLocks/>
          </p:cNvSpPr>
          <p:nvPr/>
        </p:nvSpPr>
        <p:spPr bwMode="gray">
          <a:xfrm>
            <a:off x="8508252" y="417464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16" name="Textplatzhalter 10"/>
          <p:cNvSpPr txBox="1">
            <a:spLocks/>
          </p:cNvSpPr>
          <p:nvPr/>
        </p:nvSpPr>
        <p:spPr bwMode="gray">
          <a:xfrm>
            <a:off x="8508252" y="4600760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17" name="Textplatzhalter 10"/>
          <p:cNvSpPr txBox="1">
            <a:spLocks/>
          </p:cNvSpPr>
          <p:nvPr/>
        </p:nvSpPr>
        <p:spPr bwMode="gray">
          <a:xfrm>
            <a:off x="8508252" y="5026872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18" name="Textplatzhalter 10"/>
          <p:cNvSpPr txBox="1">
            <a:spLocks/>
          </p:cNvSpPr>
          <p:nvPr/>
        </p:nvSpPr>
        <p:spPr bwMode="gray">
          <a:xfrm>
            <a:off x="8508252" y="545298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cxnSp>
        <p:nvCxnSpPr>
          <p:cNvPr id="219" name="Gerader Verbinder 90"/>
          <p:cNvCxnSpPr/>
          <p:nvPr/>
        </p:nvCxnSpPr>
        <p:spPr bwMode="gray">
          <a:xfrm>
            <a:off x="8359856" y="3717151"/>
            <a:ext cx="0" cy="1905112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Gerader Verbinder 94"/>
          <p:cNvCxnSpPr/>
          <p:nvPr/>
        </p:nvCxnSpPr>
        <p:spPr bwMode="gray">
          <a:xfrm>
            <a:off x="8359858" y="5622263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Gerader Verbinder 96"/>
          <p:cNvCxnSpPr/>
          <p:nvPr/>
        </p:nvCxnSpPr>
        <p:spPr bwMode="gray">
          <a:xfrm>
            <a:off x="8359858" y="5196150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Gerader Verbinder 97"/>
          <p:cNvCxnSpPr/>
          <p:nvPr/>
        </p:nvCxnSpPr>
        <p:spPr bwMode="gray">
          <a:xfrm>
            <a:off x="8359858" y="4770038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Gerader Verbinder 98"/>
          <p:cNvCxnSpPr/>
          <p:nvPr/>
        </p:nvCxnSpPr>
        <p:spPr bwMode="gray">
          <a:xfrm>
            <a:off x="8359858" y="4343926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Gerader Verbinder 99"/>
          <p:cNvCxnSpPr/>
          <p:nvPr/>
        </p:nvCxnSpPr>
        <p:spPr bwMode="gray">
          <a:xfrm>
            <a:off x="8359858" y="3917814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Gerader Verbinder 153"/>
          <p:cNvCxnSpPr/>
          <p:nvPr/>
        </p:nvCxnSpPr>
        <p:spPr bwMode="gray">
          <a:xfrm>
            <a:off x="8359856" y="3124216"/>
            <a:ext cx="0" cy="15630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Textplatzhalter 10"/>
          <p:cNvSpPr txBox="1">
            <a:spLocks/>
          </p:cNvSpPr>
          <p:nvPr/>
        </p:nvSpPr>
        <p:spPr bwMode="gray">
          <a:xfrm>
            <a:off x="10410558" y="3748536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27" name="Textplatzhalter 10"/>
          <p:cNvSpPr txBox="1">
            <a:spLocks/>
          </p:cNvSpPr>
          <p:nvPr/>
        </p:nvSpPr>
        <p:spPr bwMode="gray">
          <a:xfrm>
            <a:off x="10410558" y="417464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28" name="Textplatzhalter 10"/>
          <p:cNvSpPr txBox="1">
            <a:spLocks/>
          </p:cNvSpPr>
          <p:nvPr/>
        </p:nvSpPr>
        <p:spPr bwMode="gray">
          <a:xfrm>
            <a:off x="10410558" y="4600760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29" name="Textplatzhalter 10"/>
          <p:cNvSpPr txBox="1">
            <a:spLocks/>
          </p:cNvSpPr>
          <p:nvPr/>
        </p:nvSpPr>
        <p:spPr bwMode="gray">
          <a:xfrm>
            <a:off x="10410558" y="5026872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230" name="Textplatzhalter 10"/>
          <p:cNvSpPr txBox="1">
            <a:spLocks/>
          </p:cNvSpPr>
          <p:nvPr/>
        </p:nvSpPr>
        <p:spPr bwMode="gray">
          <a:xfrm>
            <a:off x="10410558" y="5452988"/>
            <a:ext cx="837476" cy="307773"/>
          </a:xfrm>
          <a:prstGeom prst="rect">
            <a:avLst/>
          </a:prstGeom>
          <a:noFill/>
          <a:ln w="6350">
            <a:noFill/>
          </a:ln>
        </p:spPr>
        <p:txBody>
          <a:bodyPr lIns="91422" tIns="45718" rIns="91422" bIns="45718">
            <a:spAutoFit/>
          </a:bodyPr>
          <a:lstStyle>
            <a:defPPr>
              <a:defRPr lang="de-DE"/>
            </a:defPPr>
            <a:lvl1pPr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0" indent="0" defTabSz="914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cap="all">
                <a:solidFill>
                  <a:schemeClr val="bg2"/>
                </a:solidFill>
              </a:defRPr>
            </a:lvl2pPr>
            <a:lvl3pPr marL="0" indent="0" defTabSz="914400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3pPr>
            <a:lvl4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4pPr>
            <a:lvl5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5pPr>
            <a:lvl6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6pPr>
            <a:lvl7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7pPr>
            <a:lvl8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8pPr>
            <a:lvl9pPr marL="0" indent="0" defTabSz="914400">
              <a:spcBef>
                <a:spcPts val="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Symbol" panose="05050102010706020507" pitchFamily="18" charset="2"/>
              <a:buNone/>
              <a:defRPr sz="2400" cap="all">
                <a:solidFill>
                  <a:schemeClr val="bg2"/>
                </a:solidFill>
              </a:defRPr>
            </a:lvl9pPr>
          </a:lstStyle>
          <a:p>
            <a:r>
              <a:rPr lang="en-US" dirty="0"/>
              <a:t>Text</a:t>
            </a:r>
          </a:p>
        </p:txBody>
      </p:sp>
      <p:cxnSp>
        <p:nvCxnSpPr>
          <p:cNvPr id="231" name="Gerader Verbinder 90"/>
          <p:cNvCxnSpPr/>
          <p:nvPr/>
        </p:nvCxnSpPr>
        <p:spPr bwMode="gray">
          <a:xfrm>
            <a:off x="10262162" y="3717151"/>
            <a:ext cx="0" cy="1905112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r Verbinder 94"/>
          <p:cNvCxnSpPr/>
          <p:nvPr/>
        </p:nvCxnSpPr>
        <p:spPr bwMode="gray">
          <a:xfrm>
            <a:off x="10262164" y="5622263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r Verbinder 96"/>
          <p:cNvCxnSpPr/>
          <p:nvPr/>
        </p:nvCxnSpPr>
        <p:spPr bwMode="gray">
          <a:xfrm>
            <a:off x="10262164" y="5196150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Gerader Verbinder 97"/>
          <p:cNvCxnSpPr/>
          <p:nvPr/>
        </p:nvCxnSpPr>
        <p:spPr bwMode="gray">
          <a:xfrm>
            <a:off x="10262164" y="4770038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Gerader Verbinder 98"/>
          <p:cNvCxnSpPr/>
          <p:nvPr/>
        </p:nvCxnSpPr>
        <p:spPr bwMode="gray">
          <a:xfrm>
            <a:off x="10262164" y="4343926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Gerader Verbinder 99"/>
          <p:cNvCxnSpPr/>
          <p:nvPr/>
        </p:nvCxnSpPr>
        <p:spPr bwMode="gray">
          <a:xfrm>
            <a:off x="10262164" y="3917814"/>
            <a:ext cx="144019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Gerader Verbinder 153"/>
          <p:cNvCxnSpPr/>
          <p:nvPr/>
        </p:nvCxnSpPr>
        <p:spPr bwMode="gray">
          <a:xfrm>
            <a:off x="10262162" y="3124216"/>
            <a:ext cx="0" cy="156303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17"/>
          <p:cNvSpPr/>
          <p:nvPr/>
        </p:nvSpPr>
        <p:spPr bwMode="gray">
          <a:xfrm rot="5400000">
            <a:off x="5025121" y="2767361"/>
            <a:ext cx="515660" cy="1431580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vert="vert270" lIns="108000" tIns="72000" rIns="108000" bIns="72000" anchor="ctr"/>
          <a:lstStyle/>
          <a:p>
            <a:pPr algn="ctr" defTabSz="1221456">
              <a:buClr>
                <a:schemeClr val="accent2"/>
              </a:buClr>
              <a:buSzPct val="110000"/>
            </a:pPr>
            <a:endParaRPr lang="en-US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39" name="Rechteck 17"/>
          <p:cNvSpPr/>
          <p:nvPr/>
        </p:nvSpPr>
        <p:spPr bwMode="gray">
          <a:xfrm rot="5400000">
            <a:off x="6926963" y="2767361"/>
            <a:ext cx="515660" cy="1431580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vert="vert270" lIns="108000" tIns="72000" rIns="108000" bIns="72000" anchor="ctr"/>
          <a:lstStyle/>
          <a:p>
            <a:pPr algn="ctr" defTabSz="1221456">
              <a:buClr>
                <a:schemeClr val="accent2"/>
              </a:buClr>
              <a:buSzPct val="110000"/>
            </a:pPr>
            <a:endParaRPr lang="en-US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40" name="Rechteck 17"/>
          <p:cNvSpPr/>
          <p:nvPr/>
        </p:nvSpPr>
        <p:spPr bwMode="gray">
          <a:xfrm rot="5400000">
            <a:off x="8828340" y="2767361"/>
            <a:ext cx="515660" cy="1431580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vert="vert270" lIns="108000" tIns="72000" rIns="108000" bIns="72000" anchor="ctr"/>
          <a:lstStyle/>
          <a:p>
            <a:pPr algn="ctr" defTabSz="1221456">
              <a:buClr>
                <a:schemeClr val="accent2"/>
              </a:buClr>
              <a:buSzPct val="110000"/>
            </a:pPr>
            <a:endParaRPr lang="en-US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41" name="Rechteck 17"/>
          <p:cNvSpPr/>
          <p:nvPr/>
        </p:nvSpPr>
        <p:spPr bwMode="gray">
          <a:xfrm rot="5400000">
            <a:off x="10730646" y="2767361"/>
            <a:ext cx="515660" cy="1431580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50800">
            <a:noFill/>
          </a:ln>
        </p:spPr>
        <p:txBody>
          <a:bodyPr vert="vert270" lIns="108000" tIns="72000" rIns="108000" bIns="72000" anchor="ctr"/>
          <a:lstStyle/>
          <a:p>
            <a:pPr algn="ctr" defTabSz="1221456">
              <a:buClr>
                <a:schemeClr val="accent2"/>
              </a:buClr>
              <a:buSzPct val="110000"/>
            </a:pPr>
            <a:endParaRPr lang="en-US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43" name="Rechteck 17"/>
          <p:cNvSpPr/>
          <p:nvPr/>
        </p:nvSpPr>
        <p:spPr bwMode="gray">
          <a:xfrm>
            <a:off x="938320" y="3323326"/>
            <a:ext cx="1081894" cy="31965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</a:t>
            </a:r>
          </a:p>
        </p:txBody>
      </p:sp>
      <p:sp>
        <p:nvSpPr>
          <p:cNvPr id="244" name="Rechteck 17"/>
          <p:cNvSpPr/>
          <p:nvPr/>
        </p:nvSpPr>
        <p:spPr bwMode="gray">
          <a:xfrm>
            <a:off x="2747242" y="3323326"/>
            <a:ext cx="1081894" cy="31965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</a:t>
            </a:r>
          </a:p>
        </p:txBody>
      </p:sp>
      <p:sp>
        <p:nvSpPr>
          <p:cNvPr id="245" name="Rechteck 17"/>
          <p:cNvSpPr/>
          <p:nvPr/>
        </p:nvSpPr>
        <p:spPr bwMode="gray">
          <a:xfrm>
            <a:off x="4742004" y="3323326"/>
            <a:ext cx="1081894" cy="31965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</a:t>
            </a:r>
          </a:p>
        </p:txBody>
      </p:sp>
      <p:sp>
        <p:nvSpPr>
          <p:cNvPr id="246" name="Rechteck 17"/>
          <p:cNvSpPr/>
          <p:nvPr/>
        </p:nvSpPr>
        <p:spPr bwMode="gray">
          <a:xfrm>
            <a:off x="6643846" y="3323326"/>
            <a:ext cx="1081894" cy="31965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</a:t>
            </a:r>
          </a:p>
        </p:txBody>
      </p:sp>
      <p:sp>
        <p:nvSpPr>
          <p:cNvPr id="247" name="Rechteck 17"/>
          <p:cNvSpPr/>
          <p:nvPr/>
        </p:nvSpPr>
        <p:spPr bwMode="gray">
          <a:xfrm>
            <a:off x="8545223" y="3323326"/>
            <a:ext cx="1081894" cy="31965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</a:t>
            </a:r>
          </a:p>
        </p:txBody>
      </p:sp>
      <p:sp>
        <p:nvSpPr>
          <p:cNvPr id="248" name="Rechteck 17"/>
          <p:cNvSpPr/>
          <p:nvPr/>
        </p:nvSpPr>
        <p:spPr bwMode="gray">
          <a:xfrm>
            <a:off x="10447529" y="3323326"/>
            <a:ext cx="1081894" cy="31965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</a:t>
            </a:r>
          </a:p>
        </p:txBody>
      </p:sp>
    </p:spTree>
    <p:extLst>
      <p:ext uri="{BB962C8B-B14F-4D97-AF65-F5344CB8AC3E}">
        <p14:creationId xmlns:p14="http://schemas.microsoft.com/office/powerpoint/2010/main" val="136535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Quote Comparis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5</a:t>
            </a:fld>
            <a:endParaRPr lang="en-US" dirty="0"/>
          </a:p>
        </p:txBody>
      </p:sp>
      <p:graphicFrame>
        <p:nvGraphicFramePr>
          <p:cNvPr id="91" name="Picture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6241975"/>
              </p:ext>
            </p:extLst>
          </p:nvPr>
        </p:nvGraphicFramePr>
        <p:xfrm>
          <a:off x="334962" y="1294922"/>
          <a:ext cx="11520488" cy="46370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1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427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1747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8012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00892">
                <a:tc>
                  <a:txBody>
                    <a:bodyPr/>
                    <a:lstStyle/>
                    <a:p>
                      <a:endParaRPr lang="en-US" sz="1600" b="1" noProof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108000" marB="108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cap="all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Design</a:t>
                      </a:r>
                      <a:endParaRPr lang="en-US" sz="1600" b="1" cap="all" baseline="0" noProof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108000" marB="10800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cap="all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Implementation</a:t>
                      </a:r>
                      <a:endParaRPr lang="en-US" sz="1600" b="1" cap="all" baseline="0" noProof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108000" marB="10800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cap="all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Monitoring</a:t>
                      </a:r>
                      <a:endParaRPr lang="en-US" sz="1600" b="1" cap="all" baseline="0" noProof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108000" marB="10800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70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i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70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170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70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17024">
                <a:tc>
                  <a:txBody>
                    <a:bodyPr/>
                    <a:lstStyle/>
                    <a:p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17024">
                <a:tc>
                  <a:txBody>
                    <a:bodyPr/>
                    <a:lstStyle/>
                    <a:p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0" i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17024">
                <a:tc>
                  <a:txBody>
                    <a:bodyPr/>
                    <a:lstStyle/>
                    <a:p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XXX.XX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XXX.XX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XXX.XX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517024">
                <a:tc>
                  <a:txBody>
                    <a:bodyPr/>
                    <a:lstStyle/>
                    <a:p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XXX.XX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XXX.XX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XXX.XX</a:t>
                      </a:r>
                    </a:p>
                  </a:txBody>
                  <a:tcPr marL="108015" marR="108015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39733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apacity Plann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6</a:t>
            </a:fld>
            <a:endParaRPr lang="en-US" dirty="0"/>
          </a:p>
        </p:txBody>
      </p:sp>
      <p:graphicFrame>
        <p:nvGraphicFramePr>
          <p:cNvPr id="88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300858"/>
              </p:ext>
            </p:extLst>
          </p:nvPr>
        </p:nvGraphicFramePr>
        <p:xfrm>
          <a:off x="334963" y="1450374"/>
          <a:ext cx="11520487" cy="463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950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192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2476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8798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6516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2873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64188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4188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4188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41887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641887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641887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641887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641887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</a:tblGrid>
              <a:tr h="28652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#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PERSONNEL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TYPE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Text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Text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Text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JAN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FEB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MAR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APR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…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…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…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sz="1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…</a:t>
                      </a:r>
                      <a:endParaRPr lang="en-US" sz="1400" b="1" kern="1200" cap="all" baseline="0" noProof="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1.1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Name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Director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1.2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Name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Engineer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1.3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Name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Engineer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1.4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Name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Designer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1.5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Name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Designer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1.6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Name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Attorney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0.00.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00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Arial" pitchFamily="34" charset="0"/>
                        </a:rPr>
                        <a:t>X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86525"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55053">
                <a:tc grid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9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36000" marB="3600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b="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b="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600" b="0" noProof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baseline="0" noProof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baseline="0" noProof="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72000" marR="72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18647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sumer Strateg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7</a:t>
            </a:fld>
            <a:endParaRPr lang="en-US" dirty="0"/>
          </a:p>
        </p:txBody>
      </p:sp>
      <p:cxnSp>
        <p:nvCxnSpPr>
          <p:cNvPr id="302" name="Gerade Verbindung 25"/>
          <p:cNvCxnSpPr/>
          <p:nvPr/>
        </p:nvCxnSpPr>
        <p:spPr bwMode="gray">
          <a:xfrm>
            <a:off x="6400236" y="3097976"/>
            <a:ext cx="5187797" cy="0"/>
          </a:xfrm>
          <a:prstGeom prst="line">
            <a:avLst/>
          </a:prstGeom>
          <a:noFill/>
          <a:ln w="6350">
            <a:solidFill>
              <a:schemeClr val="bg1"/>
            </a:solidFill>
            <a:prstDash val="solid"/>
            <a:round/>
            <a:headEnd/>
            <a:tailEnd/>
          </a:ln>
        </p:spPr>
      </p:cxnSp>
      <p:cxnSp>
        <p:nvCxnSpPr>
          <p:cNvPr id="304" name="Gerade Verbindung 23"/>
          <p:cNvCxnSpPr/>
          <p:nvPr/>
        </p:nvCxnSpPr>
        <p:spPr bwMode="gray">
          <a:xfrm>
            <a:off x="7375596" y="4355144"/>
            <a:ext cx="4219603" cy="0"/>
          </a:xfrm>
          <a:prstGeom prst="line">
            <a:avLst/>
          </a:prstGeom>
          <a:noFill/>
          <a:ln w="6350">
            <a:solidFill>
              <a:schemeClr val="bg1"/>
            </a:solidFill>
            <a:prstDash val="solid"/>
            <a:round/>
            <a:headEnd/>
            <a:tailEnd/>
          </a:ln>
        </p:spPr>
      </p:cxnSp>
      <p:sp>
        <p:nvSpPr>
          <p:cNvPr id="305" name="Freihandform 52"/>
          <p:cNvSpPr/>
          <p:nvPr/>
        </p:nvSpPr>
        <p:spPr bwMode="gray">
          <a:xfrm>
            <a:off x="4085004" y="4717983"/>
            <a:ext cx="2014709" cy="1321368"/>
          </a:xfrm>
          <a:custGeom>
            <a:avLst/>
            <a:gdLst>
              <a:gd name="connsiteX0" fmla="*/ 444500 w 2146300"/>
              <a:gd name="connsiteY0" fmla="*/ 0 h 1397000"/>
              <a:gd name="connsiteX1" fmla="*/ 0 w 2146300"/>
              <a:gd name="connsiteY1" fmla="*/ 530225 h 1397000"/>
              <a:gd name="connsiteX2" fmla="*/ 2146300 w 2146300"/>
              <a:gd name="connsiteY2" fmla="*/ 1397000 h 1397000"/>
              <a:gd name="connsiteX3" fmla="*/ 2136775 w 2146300"/>
              <a:gd name="connsiteY3" fmla="*/ 577850 h 1397000"/>
              <a:gd name="connsiteX4" fmla="*/ 444500 w 2146300"/>
              <a:gd name="connsiteY4" fmla="*/ 0 h 1397000"/>
              <a:gd name="connsiteX0" fmla="*/ 444500 w 2146300"/>
              <a:gd name="connsiteY0" fmla="*/ 0 h 1397000"/>
              <a:gd name="connsiteX1" fmla="*/ 0 w 2146300"/>
              <a:gd name="connsiteY1" fmla="*/ 530225 h 1397000"/>
              <a:gd name="connsiteX2" fmla="*/ 2146300 w 2146300"/>
              <a:gd name="connsiteY2" fmla="*/ 1397000 h 1397000"/>
              <a:gd name="connsiteX3" fmla="*/ 2122487 w 2146300"/>
              <a:gd name="connsiteY3" fmla="*/ 573088 h 1397000"/>
              <a:gd name="connsiteX4" fmla="*/ 444500 w 2146300"/>
              <a:gd name="connsiteY4" fmla="*/ 0 h 1397000"/>
              <a:gd name="connsiteX0" fmla="*/ 444500 w 2122488"/>
              <a:gd name="connsiteY0" fmla="*/ 0 h 1392237"/>
              <a:gd name="connsiteX1" fmla="*/ 0 w 2122488"/>
              <a:gd name="connsiteY1" fmla="*/ 530225 h 1392237"/>
              <a:gd name="connsiteX2" fmla="*/ 2122488 w 2122488"/>
              <a:gd name="connsiteY2" fmla="*/ 1392237 h 1392237"/>
              <a:gd name="connsiteX3" fmla="*/ 2122487 w 2122488"/>
              <a:gd name="connsiteY3" fmla="*/ 573088 h 1392237"/>
              <a:gd name="connsiteX4" fmla="*/ 444500 w 2122488"/>
              <a:gd name="connsiteY4" fmla="*/ 0 h 1392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2488" h="1392237">
                <a:moveTo>
                  <a:pt x="444500" y="0"/>
                </a:moveTo>
                <a:lnTo>
                  <a:pt x="0" y="530225"/>
                </a:lnTo>
                <a:lnTo>
                  <a:pt x="2122488" y="1392237"/>
                </a:lnTo>
                <a:cubicBezTo>
                  <a:pt x="2122488" y="1119187"/>
                  <a:pt x="2122487" y="846138"/>
                  <a:pt x="2122487" y="573088"/>
                </a:cubicBezTo>
                <a:lnTo>
                  <a:pt x="444500" y="0"/>
                </a:lnTo>
                <a:close/>
              </a:path>
            </a:pathLst>
          </a:custGeom>
          <a:solidFill>
            <a:schemeClr val="tx2"/>
          </a:soli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6" name="Freihandform 53"/>
          <p:cNvSpPr/>
          <p:nvPr/>
        </p:nvSpPr>
        <p:spPr bwMode="gray">
          <a:xfrm>
            <a:off x="6098205" y="4736069"/>
            <a:ext cx="1913747" cy="1304795"/>
          </a:xfrm>
          <a:custGeom>
            <a:avLst/>
            <a:gdLst>
              <a:gd name="connsiteX0" fmla="*/ 0 w 1997075"/>
              <a:gd name="connsiteY0" fmla="*/ 558800 h 1374775"/>
              <a:gd name="connsiteX1" fmla="*/ 3175 w 1997075"/>
              <a:gd name="connsiteY1" fmla="*/ 1374775 h 1374775"/>
              <a:gd name="connsiteX2" fmla="*/ 1997075 w 1997075"/>
              <a:gd name="connsiteY2" fmla="*/ 533400 h 1374775"/>
              <a:gd name="connsiteX3" fmla="*/ 1574800 w 1997075"/>
              <a:gd name="connsiteY3" fmla="*/ 0 h 1374775"/>
              <a:gd name="connsiteX4" fmla="*/ 0 w 1997075"/>
              <a:gd name="connsiteY4" fmla="*/ 558800 h 1374775"/>
              <a:gd name="connsiteX0" fmla="*/ 0 w 2016125"/>
              <a:gd name="connsiteY0" fmla="*/ 558800 h 1374775"/>
              <a:gd name="connsiteX1" fmla="*/ 22225 w 2016125"/>
              <a:gd name="connsiteY1" fmla="*/ 1374775 h 1374775"/>
              <a:gd name="connsiteX2" fmla="*/ 2016125 w 2016125"/>
              <a:gd name="connsiteY2" fmla="*/ 533400 h 1374775"/>
              <a:gd name="connsiteX3" fmla="*/ 1593850 w 2016125"/>
              <a:gd name="connsiteY3" fmla="*/ 0 h 1374775"/>
              <a:gd name="connsiteX4" fmla="*/ 0 w 2016125"/>
              <a:gd name="connsiteY4" fmla="*/ 558800 h 1374775"/>
              <a:gd name="connsiteX0" fmla="*/ 0 w 2016125"/>
              <a:gd name="connsiteY0" fmla="*/ 558800 h 1374775"/>
              <a:gd name="connsiteX1" fmla="*/ 794 w 2016125"/>
              <a:gd name="connsiteY1" fmla="*/ 1374775 h 1374775"/>
              <a:gd name="connsiteX2" fmla="*/ 2016125 w 2016125"/>
              <a:gd name="connsiteY2" fmla="*/ 533400 h 1374775"/>
              <a:gd name="connsiteX3" fmla="*/ 1593850 w 2016125"/>
              <a:gd name="connsiteY3" fmla="*/ 0 h 1374775"/>
              <a:gd name="connsiteX4" fmla="*/ 0 w 2016125"/>
              <a:gd name="connsiteY4" fmla="*/ 558800 h 137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6125" h="1374775">
                <a:moveTo>
                  <a:pt x="0" y="558800"/>
                </a:moveTo>
                <a:cubicBezTo>
                  <a:pt x="1058" y="830792"/>
                  <a:pt x="-264" y="1102783"/>
                  <a:pt x="794" y="1374775"/>
                </a:cubicBezTo>
                <a:lnTo>
                  <a:pt x="2016125" y="533400"/>
                </a:lnTo>
                <a:lnTo>
                  <a:pt x="1593850" y="0"/>
                </a:lnTo>
                <a:lnTo>
                  <a:pt x="0" y="5588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" name="Freihandform 54"/>
          <p:cNvSpPr/>
          <p:nvPr/>
        </p:nvSpPr>
        <p:spPr bwMode="gray">
          <a:xfrm>
            <a:off x="4506931" y="4269001"/>
            <a:ext cx="3110216" cy="997431"/>
          </a:xfrm>
          <a:custGeom>
            <a:avLst/>
            <a:gdLst>
              <a:gd name="connsiteX0" fmla="*/ 0 w 3276600"/>
              <a:gd name="connsiteY0" fmla="*/ 473075 h 1050925"/>
              <a:gd name="connsiteX1" fmla="*/ 1628775 w 3276600"/>
              <a:gd name="connsiteY1" fmla="*/ 0 h 1050925"/>
              <a:gd name="connsiteX2" fmla="*/ 3276600 w 3276600"/>
              <a:gd name="connsiteY2" fmla="*/ 495300 h 1050925"/>
              <a:gd name="connsiteX3" fmla="*/ 1698625 w 3276600"/>
              <a:gd name="connsiteY3" fmla="*/ 1050925 h 1050925"/>
              <a:gd name="connsiteX4" fmla="*/ 0 w 3276600"/>
              <a:gd name="connsiteY4" fmla="*/ 473075 h 1050925"/>
              <a:gd name="connsiteX0" fmla="*/ 0 w 3276600"/>
              <a:gd name="connsiteY0" fmla="*/ 473075 h 1050925"/>
              <a:gd name="connsiteX1" fmla="*/ 1628775 w 3276600"/>
              <a:gd name="connsiteY1" fmla="*/ 0 h 1050925"/>
              <a:gd name="connsiteX2" fmla="*/ 3276600 w 3276600"/>
              <a:gd name="connsiteY2" fmla="*/ 495300 h 1050925"/>
              <a:gd name="connsiteX3" fmla="*/ 1681956 w 3276600"/>
              <a:gd name="connsiteY3" fmla="*/ 1050925 h 1050925"/>
              <a:gd name="connsiteX4" fmla="*/ 0 w 3276600"/>
              <a:gd name="connsiteY4" fmla="*/ 473075 h 1050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76600" h="1050925">
                <a:moveTo>
                  <a:pt x="0" y="473075"/>
                </a:moveTo>
                <a:lnTo>
                  <a:pt x="1628775" y="0"/>
                </a:lnTo>
                <a:lnTo>
                  <a:pt x="3276600" y="495300"/>
                </a:lnTo>
                <a:lnTo>
                  <a:pt x="1681956" y="1050925"/>
                </a:lnTo>
                <a:lnTo>
                  <a:pt x="0" y="47307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8" name="Freihandform 49"/>
          <p:cNvSpPr/>
          <p:nvPr/>
        </p:nvSpPr>
        <p:spPr bwMode="gray">
          <a:xfrm>
            <a:off x="4585288" y="4095721"/>
            <a:ext cx="1514421" cy="1035851"/>
          </a:xfrm>
          <a:custGeom>
            <a:avLst/>
            <a:gdLst>
              <a:gd name="connsiteX0" fmla="*/ 457200 w 1609725"/>
              <a:gd name="connsiteY0" fmla="*/ 0 h 1089025"/>
              <a:gd name="connsiteX1" fmla="*/ 1603375 w 1609725"/>
              <a:gd name="connsiteY1" fmla="*/ 323850 h 1089025"/>
              <a:gd name="connsiteX2" fmla="*/ 1609725 w 1609725"/>
              <a:gd name="connsiteY2" fmla="*/ 1089025 h 1089025"/>
              <a:gd name="connsiteX3" fmla="*/ 0 w 1609725"/>
              <a:gd name="connsiteY3" fmla="*/ 549275 h 1089025"/>
              <a:gd name="connsiteX4" fmla="*/ 457200 w 1609725"/>
              <a:gd name="connsiteY4" fmla="*/ 0 h 1089025"/>
              <a:gd name="connsiteX0" fmla="*/ 457200 w 1609725"/>
              <a:gd name="connsiteY0" fmla="*/ 0 h 1089025"/>
              <a:gd name="connsiteX1" fmla="*/ 1593850 w 1609725"/>
              <a:gd name="connsiteY1" fmla="*/ 323850 h 1089025"/>
              <a:gd name="connsiteX2" fmla="*/ 1609725 w 1609725"/>
              <a:gd name="connsiteY2" fmla="*/ 1089025 h 1089025"/>
              <a:gd name="connsiteX3" fmla="*/ 0 w 1609725"/>
              <a:gd name="connsiteY3" fmla="*/ 549275 h 1089025"/>
              <a:gd name="connsiteX4" fmla="*/ 457200 w 1609725"/>
              <a:gd name="connsiteY4" fmla="*/ 0 h 1089025"/>
              <a:gd name="connsiteX0" fmla="*/ 457200 w 1595437"/>
              <a:gd name="connsiteY0" fmla="*/ 0 h 1086644"/>
              <a:gd name="connsiteX1" fmla="*/ 1593850 w 1595437"/>
              <a:gd name="connsiteY1" fmla="*/ 323850 h 1086644"/>
              <a:gd name="connsiteX2" fmla="*/ 1595437 w 1595437"/>
              <a:gd name="connsiteY2" fmla="*/ 1086644 h 1086644"/>
              <a:gd name="connsiteX3" fmla="*/ 0 w 1595437"/>
              <a:gd name="connsiteY3" fmla="*/ 549275 h 1086644"/>
              <a:gd name="connsiteX4" fmla="*/ 457200 w 1595437"/>
              <a:gd name="connsiteY4" fmla="*/ 0 h 1086644"/>
              <a:gd name="connsiteX0" fmla="*/ 459582 w 1595437"/>
              <a:gd name="connsiteY0" fmla="*/ 0 h 1091406"/>
              <a:gd name="connsiteX1" fmla="*/ 1593850 w 1595437"/>
              <a:gd name="connsiteY1" fmla="*/ 328612 h 1091406"/>
              <a:gd name="connsiteX2" fmla="*/ 1595437 w 1595437"/>
              <a:gd name="connsiteY2" fmla="*/ 1091406 h 1091406"/>
              <a:gd name="connsiteX3" fmla="*/ 0 w 1595437"/>
              <a:gd name="connsiteY3" fmla="*/ 554037 h 1091406"/>
              <a:gd name="connsiteX4" fmla="*/ 459582 w 1595437"/>
              <a:gd name="connsiteY4" fmla="*/ 0 h 1091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5437" h="1091406">
                <a:moveTo>
                  <a:pt x="459582" y="0"/>
                </a:moveTo>
                <a:lnTo>
                  <a:pt x="1593850" y="328612"/>
                </a:lnTo>
                <a:cubicBezTo>
                  <a:pt x="1595967" y="583670"/>
                  <a:pt x="1593320" y="836348"/>
                  <a:pt x="1595437" y="1091406"/>
                </a:cubicBezTo>
                <a:lnTo>
                  <a:pt x="0" y="554037"/>
                </a:lnTo>
                <a:lnTo>
                  <a:pt x="459582" y="0"/>
                </a:lnTo>
                <a:close/>
              </a:path>
            </a:pathLst>
          </a:cu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9" name="Freihandform 50"/>
          <p:cNvSpPr/>
          <p:nvPr/>
        </p:nvSpPr>
        <p:spPr bwMode="gray">
          <a:xfrm>
            <a:off x="6098964" y="4115307"/>
            <a:ext cx="1439831" cy="1017017"/>
          </a:xfrm>
          <a:custGeom>
            <a:avLst/>
            <a:gdLst>
              <a:gd name="connsiteX0" fmla="*/ 0 w 1504950"/>
              <a:gd name="connsiteY0" fmla="*/ 304800 h 1076325"/>
              <a:gd name="connsiteX1" fmla="*/ 1069975 w 1504950"/>
              <a:gd name="connsiteY1" fmla="*/ 0 h 1076325"/>
              <a:gd name="connsiteX2" fmla="*/ 1504950 w 1504950"/>
              <a:gd name="connsiteY2" fmla="*/ 555625 h 1076325"/>
              <a:gd name="connsiteX3" fmla="*/ 3175 w 1504950"/>
              <a:gd name="connsiteY3" fmla="*/ 1076325 h 1076325"/>
              <a:gd name="connsiteX4" fmla="*/ 0 w 1504950"/>
              <a:gd name="connsiteY4" fmla="*/ 304800 h 1076325"/>
              <a:gd name="connsiteX0" fmla="*/ 0 w 1514475"/>
              <a:gd name="connsiteY0" fmla="*/ 311944 h 1076325"/>
              <a:gd name="connsiteX1" fmla="*/ 1079500 w 1514475"/>
              <a:gd name="connsiteY1" fmla="*/ 0 h 1076325"/>
              <a:gd name="connsiteX2" fmla="*/ 1514475 w 1514475"/>
              <a:gd name="connsiteY2" fmla="*/ 555625 h 1076325"/>
              <a:gd name="connsiteX3" fmla="*/ 12700 w 1514475"/>
              <a:gd name="connsiteY3" fmla="*/ 1076325 h 1076325"/>
              <a:gd name="connsiteX4" fmla="*/ 0 w 1514475"/>
              <a:gd name="connsiteY4" fmla="*/ 311944 h 1076325"/>
              <a:gd name="connsiteX0" fmla="*/ 1780 w 1516255"/>
              <a:gd name="connsiteY0" fmla="*/ 311944 h 1071563"/>
              <a:gd name="connsiteX1" fmla="*/ 1081280 w 1516255"/>
              <a:gd name="connsiteY1" fmla="*/ 0 h 1071563"/>
              <a:gd name="connsiteX2" fmla="*/ 1516255 w 1516255"/>
              <a:gd name="connsiteY2" fmla="*/ 555625 h 1071563"/>
              <a:gd name="connsiteX3" fmla="*/ 192 w 1516255"/>
              <a:gd name="connsiteY3" fmla="*/ 1071563 h 1071563"/>
              <a:gd name="connsiteX4" fmla="*/ 1780 w 1516255"/>
              <a:gd name="connsiteY4" fmla="*/ 311944 h 1071563"/>
              <a:gd name="connsiteX0" fmla="*/ 0 w 1516856"/>
              <a:gd name="connsiteY0" fmla="*/ 311944 h 1071563"/>
              <a:gd name="connsiteX1" fmla="*/ 1081881 w 1516856"/>
              <a:gd name="connsiteY1" fmla="*/ 0 h 1071563"/>
              <a:gd name="connsiteX2" fmla="*/ 1516856 w 1516856"/>
              <a:gd name="connsiteY2" fmla="*/ 555625 h 1071563"/>
              <a:gd name="connsiteX3" fmla="*/ 793 w 1516856"/>
              <a:gd name="connsiteY3" fmla="*/ 1071563 h 1071563"/>
              <a:gd name="connsiteX4" fmla="*/ 0 w 1516856"/>
              <a:gd name="connsiteY4" fmla="*/ 311944 h 107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6856" h="1071563">
                <a:moveTo>
                  <a:pt x="0" y="311944"/>
                </a:moveTo>
                <a:lnTo>
                  <a:pt x="1081881" y="0"/>
                </a:lnTo>
                <a:lnTo>
                  <a:pt x="1516856" y="555625"/>
                </a:lnTo>
                <a:lnTo>
                  <a:pt x="793" y="1071563"/>
                </a:lnTo>
                <a:cubicBezTo>
                  <a:pt x="-265" y="814388"/>
                  <a:pt x="1058" y="569119"/>
                  <a:pt x="0" y="311944"/>
                </a:cubicBezTo>
                <a:close/>
              </a:path>
            </a:pathLst>
          </a:cu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0" name="Freihandform 51"/>
          <p:cNvSpPr/>
          <p:nvPr/>
        </p:nvSpPr>
        <p:spPr bwMode="gray">
          <a:xfrm>
            <a:off x="5022285" y="3801919"/>
            <a:ext cx="2102499" cy="611085"/>
          </a:xfrm>
          <a:custGeom>
            <a:avLst/>
            <a:gdLst>
              <a:gd name="connsiteX0" fmla="*/ 0 w 2222500"/>
              <a:gd name="connsiteY0" fmla="*/ 311150 h 641350"/>
              <a:gd name="connsiteX1" fmla="*/ 1149350 w 2222500"/>
              <a:gd name="connsiteY1" fmla="*/ 641350 h 641350"/>
              <a:gd name="connsiteX2" fmla="*/ 2222500 w 2222500"/>
              <a:gd name="connsiteY2" fmla="*/ 327025 h 641350"/>
              <a:gd name="connsiteX3" fmla="*/ 1139825 w 2222500"/>
              <a:gd name="connsiteY3" fmla="*/ 0 h 641350"/>
              <a:gd name="connsiteX4" fmla="*/ 0 w 2222500"/>
              <a:gd name="connsiteY4" fmla="*/ 311150 h 641350"/>
              <a:gd name="connsiteX0" fmla="*/ 0 w 2222500"/>
              <a:gd name="connsiteY0" fmla="*/ 311150 h 641350"/>
              <a:gd name="connsiteX1" fmla="*/ 1132681 w 2222500"/>
              <a:gd name="connsiteY1" fmla="*/ 641350 h 641350"/>
              <a:gd name="connsiteX2" fmla="*/ 2222500 w 2222500"/>
              <a:gd name="connsiteY2" fmla="*/ 327025 h 641350"/>
              <a:gd name="connsiteX3" fmla="*/ 1139825 w 2222500"/>
              <a:gd name="connsiteY3" fmla="*/ 0 h 641350"/>
              <a:gd name="connsiteX4" fmla="*/ 0 w 2222500"/>
              <a:gd name="connsiteY4" fmla="*/ 311150 h 641350"/>
              <a:gd name="connsiteX0" fmla="*/ 0 w 2212464"/>
              <a:gd name="connsiteY0" fmla="*/ 311150 h 641350"/>
              <a:gd name="connsiteX1" fmla="*/ 1132681 w 2212464"/>
              <a:gd name="connsiteY1" fmla="*/ 641350 h 641350"/>
              <a:gd name="connsiteX2" fmla="*/ 2212464 w 2212464"/>
              <a:gd name="connsiteY2" fmla="*/ 329533 h 641350"/>
              <a:gd name="connsiteX3" fmla="*/ 1139825 w 2212464"/>
              <a:gd name="connsiteY3" fmla="*/ 0 h 641350"/>
              <a:gd name="connsiteX4" fmla="*/ 0 w 2212464"/>
              <a:gd name="connsiteY4" fmla="*/ 311150 h 641350"/>
              <a:gd name="connsiteX0" fmla="*/ 0 w 2214973"/>
              <a:gd name="connsiteY0" fmla="*/ 311150 h 641350"/>
              <a:gd name="connsiteX1" fmla="*/ 1132681 w 2214973"/>
              <a:gd name="connsiteY1" fmla="*/ 641350 h 641350"/>
              <a:gd name="connsiteX2" fmla="*/ 2214973 w 2214973"/>
              <a:gd name="connsiteY2" fmla="*/ 329533 h 641350"/>
              <a:gd name="connsiteX3" fmla="*/ 1139825 w 2214973"/>
              <a:gd name="connsiteY3" fmla="*/ 0 h 641350"/>
              <a:gd name="connsiteX4" fmla="*/ 0 w 2214973"/>
              <a:gd name="connsiteY4" fmla="*/ 311150 h 641350"/>
              <a:gd name="connsiteX0" fmla="*/ 0 w 2214973"/>
              <a:gd name="connsiteY0" fmla="*/ 311150 h 643860"/>
              <a:gd name="connsiteX1" fmla="*/ 1135191 w 2214973"/>
              <a:gd name="connsiteY1" fmla="*/ 643860 h 643860"/>
              <a:gd name="connsiteX2" fmla="*/ 2214973 w 2214973"/>
              <a:gd name="connsiteY2" fmla="*/ 329533 h 643860"/>
              <a:gd name="connsiteX3" fmla="*/ 1139825 w 2214973"/>
              <a:gd name="connsiteY3" fmla="*/ 0 h 643860"/>
              <a:gd name="connsiteX4" fmla="*/ 0 w 2214973"/>
              <a:gd name="connsiteY4" fmla="*/ 311150 h 643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4973" h="643860">
                <a:moveTo>
                  <a:pt x="0" y="311150"/>
                </a:moveTo>
                <a:lnTo>
                  <a:pt x="1135191" y="643860"/>
                </a:lnTo>
                <a:lnTo>
                  <a:pt x="2214973" y="329533"/>
                </a:lnTo>
                <a:lnTo>
                  <a:pt x="1139825" y="0"/>
                </a:lnTo>
                <a:lnTo>
                  <a:pt x="0" y="311150"/>
                </a:lnTo>
                <a:close/>
              </a:path>
            </a:pathLst>
          </a:custGeom>
          <a:solidFill>
            <a:schemeClr val="accent1">
              <a:lumMod val="90000"/>
              <a:lumOff val="10000"/>
            </a:schemeClr>
          </a:soli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1" name="Freihandform 46"/>
          <p:cNvSpPr/>
          <p:nvPr/>
        </p:nvSpPr>
        <p:spPr bwMode="gray">
          <a:xfrm>
            <a:off x="5094627" y="3467429"/>
            <a:ext cx="1009615" cy="828680"/>
          </a:xfrm>
          <a:custGeom>
            <a:avLst/>
            <a:gdLst>
              <a:gd name="connsiteX0" fmla="*/ 473075 w 1063625"/>
              <a:gd name="connsiteY0" fmla="*/ 0 h 873125"/>
              <a:gd name="connsiteX1" fmla="*/ 1063625 w 1063625"/>
              <a:gd name="connsiteY1" fmla="*/ 133350 h 873125"/>
              <a:gd name="connsiteX2" fmla="*/ 1063625 w 1063625"/>
              <a:gd name="connsiteY2" fmla="*/ 873125 h 873125"/>
              <a:gd name="connsiteX3" fmla="*/ 0 w 1063625"/>
              <a:gd name="connsiteY3" fmla="*/ 577850 h 873125"/>
              <a:gd name="connsiteX4" fmla="*/ 473075 w 1063625"/>
              <a:gd name="connsiteY4" fmla="*/ 0 h 87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3625" h="873125">
                <a:moveTo>
                  <a:pt x="473075" y="0"/>
                </a:moveTo>
                <a:lnTo>
                  <a:pt x="1063625" y="133350"/>
                </a:lnTo>
                <a:lnTo>
                  <a:pt x="1063625" y="873125"/>
                </a:lnTo>
                <a:lnTo>
                  <a:pt x="0" y="577850"/>
                </a:lnTo>
                <a:lnTo>
                  <a:pt x="473075" y="0"/>
                </a:lnTo>
                <a:close/>
              </a:path>
            </a:pathLst>
          </a:custGeom>
          <a:solidFill>
            <a:schemeClr val="accent4"/>
          </a:soli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2" name="Freihandform 47"/>
          <p:cNvSpPr/>
          <p:nvPr/>
        </p:nvSpPr>
        <p:spPr bwMode="gray">
          <a:xfrm>
            <a:off x="6101226" y="3482501"/>
            <a:ext cx="955367" cy="816627"/>
          </a:xfrm>
          <a:custGeom>
            <a:avLst/>
            <a:gdLst>
              <a:gd name="connsiteX0" fmla="*/ 0 w 1006475"/>
              <a:gd name="connsiteY0" fmla="*/ 117475 h 860425"/>
              <a:gd name="connsiteX1" fmla="*/ 546100 w 1006475"/>
              <a:gd name="connsiteY1" fmla="*/ 0 h 860425"/>
              <a:gd name="connsiteX2" fmla="*/ 1006475 w 1006475"/>
              <a:gd name="connsiteY2" fmla="*/ 577850 h 860425"/>
              <a:gd name="connsiteX3" fmla="*/ 0 w 1006475"/>
              <a:gd name="connsiteY3" fmla="*/ 860425 h 860425"/>
              <a:gd name="connsiteX4" fmla="*/ 0 w 1006475"/>
              <a:gd name="connsiteY4" fmla="*/ 117475 h 86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6475" h="860425">
                <a:moveTo>
                  <a:pt x="0" y="117475"/>
                </a:moveTo>
                <a:lnTo>
                  <a:pt x="546100" y="0"/>
                </a:lnTo>
                <a:lnTo>
                  <a:pt x="1006475" y="577850"/>
                </a:lnTo>
                <a:lnTo>
                  <a:pt x="0" y="860425"/>
                </a:lnTo>
                <a:cubicBezTo>
                  <a:pt x="1058" y="613833"/>
                  <a:pt x="2117" y="367242"/>
                  <a:pt x="0" y="11747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3" name="Freihandform 48"/>
          <p:cNvSpPr/>
          <p:nvPr/>
        </p:nvSpPr>
        <p:spPr bwMode="gray">
          <a:xfrm>
            <a:off x="5541287" y="3361963"/>
            <a:ext cx="1085444" cy="235044"/>
          </a:xfrm>
          <a:custGeom>
            <a:avLst/>
            <a:gdLst>
              <a:gd name="connsiteX0" fmla="*/ 0 w 1133475"/>
              <a:gd name="connsiteY0" fmla="*/ 111125 h 247650"/>
              <a:gd name="connsiteX1" fmla="*/ 593725 w 1133475"/>
              <a:gd name="connsiteY1" fmla="*/ 247650 h 247650"/>
              <a:gd name="connsiteX2" fmla="*/ 1133475 w 1133475"/>
              <a:gd name="connsiteY2" fmla="*/ 130175 h 247650"/>
              <a:gd name="connsiteX3" fmla="*/ 587375 w 1133475"/>
              <a:gd name="connsiteY3" fmla="*/ 0 h 247650"/>
              <a:gd name="connsiteX4" fmla="*/ 0 w 1133475"/>
              <a:gd name="connsiteY4" fmla="*/ 111125 h 247650"/>
              <a:gd name="connsiteX0" fmla="*/ 0 w 1135984"/>
              <a:gd name="connsiteY0" fmla="*/ 113633 h 247650"/>
              <a:gd name="connsiteX1" fmla="*/ 596234 w 1135984"/>
              <a:gd name="connsiteY1" fmla="*/ 247650 h 247650"/>
              <a:gd name="connsiteX2" fmla="*/ 1135984 w 1135984"/>
              <a:gd name="connsiteY2" fmla="*/ 130175 h 247650"/>
              <a:gd name="connsiteX3" fmla="*/ 589884 w 1135984"/>
              <a:gd name="connsiteY3" fmla="*/ 0 h 247650"/>
              <a:gd name="connsiteX4" fmla="*/ 0 w 1135984"/>
              <a:gd name="connsiteY4" fmla="*/ 113633 h 247650"/>
              <a:gd name="connsiteX0" fmla="*/ 0 w 1143511"/>
              <a:gd name="connsiteY0" fmla="*/ 113633 h 247650"/>
              <a:gd name="connsiteX1" fmla="*/ 596234 w 1143511"/>
              <a:gd name="connsiteY1" fmla="*/ 247650 h 247650"/>
              <a:gd name="connsiteX2" fmla="*/ 1143511 w 1143511"/>
              <a:gd name="connsiteY2" fmla="*/ 127667 h 247650"/>
              <a:gd name="connsiteX3" fmla="*/ 589884 w 1143511"/>
              <a:gd name="connsiteY3" fmla="*/ 0 h 247650"/>
              <a:gd name="connsiteX4" fmla="*/ 0 w 1143511"/>
              <a:gd name="connsiteY4" fmla="*/ 113633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3511" h="247650">
                <a:moveTo>
                  <a:pt x="0" y="113633"/>
                </a:moveTo>
                <a:lnTo>
                  <a:pt x="596234" y="247650"/>
                </a:lnTo>
                <a:lnTo>
                  <a:pt x="1143511" y="127667"/>
                </a:lnTo>
                <a:lnTo>
                  <a:pt x="589884" y="0"/>
                </a:lnTo>
                <a:lnTo>
                  <a:pt x="0" y="113633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4" name="Freihandform 44"/>
          <p:cNvSpPr/>
          <p:nvPr/>
        </p:nvSpPr>
        <p:spPr bwMode="gray">
          <a:xfrm>
            <a:off x="5628066" y="2813529"/>
            <a:ext cx="476177" cy="668971"/>
          </a:xfrm>
          <a:custGeom>
            <a:avLst/>
            <a:gdLst>
              <a:gd name="connsiteX0" fmla="*/ 488950 w 501650"/>
              <a:gd name="connsiteY0" fmla="*/ 0 h 704850"/>
              <a:gd name="connsiteX1" fmla="*/ 0 w 501650"/>
              <a:gd name="connsiteY1" fmla="*/ 590550 h 704850"/>
              <a:gd name="connsiteX2" fmla="*/ 501650 w 501650"/>
              <a:gd name="connsiteY2" fmla="*/ 704850 h 704850"/>
              <a:gd name="connsiteX3" fmla="*/ 488950 w 501650"/>
              <a:gd name="connsiteY3" fmla="*/ 0 h 70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1650" h="704850">
                <a:moveTo>
                  <a:pt x="488950" y="0"/>
                </a:moveTo>
                <a:lnTo>
                  <a:pt x="0" y="590550"/>
                </a:lnTo>
                <a:lnTo>
                  <a:pt x="501650" y="704850"/>
                </a:lnTo>
                <a:lnTo>
                  <a:pt x="488950" y="0"/>
                </a:lnTo>
                <a:close/>
              </a:path>
            </a:pathLst>
          </a:custGeom>
          <a:solidFill>
            <a:schemeClr val="accent2"/>
          </a:soli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5" name="Freihandform 45"/>
          <p:cNvSpPr/>
          <p:nvPr/>
        </p:nvSpPr>
        <p:spPr bwMode="gray">
          <a:xfrm>
            <a:off x="6092176" y="2810511"/>
            <a:ext cx="455080" cy="671984"/>
          </a:xfrm>
          <a:custGeom>
            <a:avLst/>
            <a:gdLst>
              <a:gd name="connsiteX0" fmla="*/ 0 w 479425"/>
              <a:gd name="connsiteY0" fmla="*/ 0 h 708025"/>
              <a:gd name="connsiteX1" fmla="*/ 9525 w 479425"/>
              <a:gd name="connsiteY1" fmla="*/ 708025 h 708025"/>
              <a:gd name="connsiteX2" fmla="*/ 479425 w 479425"/>
              <a:gd name="connsiteY2" fmla="*/ 609600 h 708025"/>
              <a:gd name="connsiteX3" fmla="*/ 0 w 479425"/>
              <a:gd name="connsiteY3" fmla="*/ 0 h 70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9425" h="708025">
                <a:moveTo>
                  <a:pt x="0" y="0"/>
                </a:moveTo>
                <a:lnTo>
                  <a:pt x="9525" y="708025"/>
                </a:lnTo>
                <a:lnTo>
                  <a:pt x="479425" y="609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2" tIns="71988" rIns="91422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 err="1">
              <a:solidFill>
                <a:srgbClr val="72B9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1" name="Group 320"/>
          <p:cNvGrpSpPr/>
          <p:nvPr/>
        </p:nvGrpSpPr>
        <p:grpSpPr>
          <a:xfrm flipH="1">
            <a:off x="589182" y="1420814"/>
            <a:ext cx="5732800" cy="1156382"/>
            <a:chOff x="3032616" y="1925297"/>
            <a:chExt cx="5878417" cy="818063"/>
          </a:xfrm>
        </p:grpSpPr>
        <p:sp>
          <p:nvSpPr>
            <p:cNvPr id="322" name="Textplatzhalter 3"/>
            <p:cNvSpPr txBox="1">
              <a:spLocks/>
            </p:cNvSpPr>
            <p:nvPr/>
          </p:nvSpPr>
          <p:spPr bwMode="gray">
            <a:xfrm>
              <a:off x="3032616" y="1925297"/>
              <a:ext cx="5305426" cy="8180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vert="horz" lIns="180000" tIns="36000" rIns="72000" bIns="36000" rtlCol="0" anchor="ctr">
              <a:noAutofit/>
            </a:bodyPr>
            <a:lstStyle>
              <a:lvl1pPr marL="0" indent="0" algn="l" defTabSz="914447" rtl="0" eaLnBrk="1" latinLnBrk="0" hangingPunct="1">
                <a:spcBef>
                  <a:spcPts val="526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7806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15612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73418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Clr>
                  <a:schemeClr val="accent2"/>
                </a:buClr>
                <a:buFont typeface="Wingdings 3" panose="05040102010807070707" pitchFamily="18" charset="2"/>
                <a:buChar char="}"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move and replace this text with any details related to your project, feel free to change the title.</a:t>
              </a:r>
            </a:p>
            <a:p>
              <a:pPr marL="285750" indent="-285750">
                <a:buClr>
                  <a:schemeClr val="accent2"/>
                </a:buClr>
                <a:buFont typeface="Wingdings 3" panose="05040102010807070707" pitchFamily="18" charset="2"/>
                <a:buChar char="}"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.</a:t>
              </a:r>
            </a:p>
          </p:txBody>
        </p:sp>
        <p:sp>
          <p:nvSpPr>
            <p:cNvPr id="323" name="Round Same Side Corner Rectangle 322"/>
            <p:cNvSpPr/>
            <p:nvPr/>
          </p:nvSpPr>
          <p:spPr>
            <a:xfrm rot="5400000">
              <a:off x="8215680" y="2047758"/>
              <a:ext cx="817563" cy="573142"/>
            </a:xfrm>
            <a:prstGeom prst="round2SameRect">
              <a:avLst>
                <a:gd name="adj1" fmla="val 25625"/>
                <a:gd name="adj2" fmla="val 0"/>
              </a:avLst>
            </a:prstGeom>
            <a:solidFill>
              <a:srgbClr val="B3E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72000" rtlCol="0" anchor="ctr"/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</a:rPr>
                <a:t>Consumer Journey</a:t>
              </a:r>
            </a:p>
          </p:txBody>
        </p:sp>
      </p:grpSp>
      <p:grpSp>
        <p:nvGrpSpPr>
          <p:cNvPr id="348" name="Group 347"/>
          <p:cNvGrpSpPr/>
          <p:nvPr/>
        </p:nvGrpSpPr>
        <p:grpSpPr>
          <a:xfrm>
            <a:off x="649798" y="2791525"/>
            <a:ext cx="10951432" cy="2933485"/>
            <a:chOff x="625978" y="2791525"/>
            <a:chExt cx="10951432" cy="2933485"/>
          </a:xfrm>
        </p:grpSpPr>
        <p:grpSp>
          <p:nvGrpSpPr>
            <p:cNvPr id="336" name="Group 335"/>
            <p:cNvGrpSpPr/>
            <p:nvPr/>
          </p:nvGrpSpPr>
          <p:grpSpPr>
            <a:xfrm>
              <a:off x="625978" y="3453789"/>
              <a:ext cx="4653158" cy="2271221"/>
              <a:chOff x="625978" y="3453789"/>
              <a:chExt cx="4653158" cy="2271221"/>
            </a:xfrm>
          </p:grpSpPr>
          <p:cxnSp>
            <p:nvCxnSpPr>
              <p:cNvPr id="301" name="Gerade Verbindung 16"/>
              <p:cNvCxnSpPr/>
              <p:nvPr/>
            </p:nvCxnSpPr>
            <p:spPr bwMode="gray">
              <a:xfrm>
                <a:off x="2659224" y="3696715"/>
                <a:ext cx="2619912" cy="0"/>
              </a:xfrm>
              <a:prstGeom prst="line">
                <a:avLst/>
              </a:prstGeom>
              <a:noFill/>
              <a:ln w="6350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oval"/>
                <a:tailEnd/>
              </a:ln>
            </p:spPr>
          </p:cxnSp>
          <p:cxnSp>
            <p:nvCxnSpPr>
              <p:cNvPr id="303" name="Gerade Verbindung 20"/>
              <p:cNvCxnSpPr/>
              <p:nvPr/>
            </p:nvCxnSpPr>
            <p:spPr bwMode="gray">
              <a:xfrm flipV="1">
                <a:off x="2659421" y="4956814"/>
                <a:ext cx="1595338" cy="1"/>
              </a:xfrm>
              <a:prstGeom prst="line">
                <a:avLst/>
              </a:prstGeom>
              <a:noFill/>
              <a:ln w="6350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oval"/>
                <a:tailEnd/>
              </a:ln>
            </p:spPr>
          </p:cxnSp>
          <p:grpSp>
            <p:nvGrpSpPr>
              <p:cNvPr id="326" name="Group 325"/>
              <p:cNvGrpSpPr/>
              <p:nvPr/>
            </p:nvGrpSpPr>
            <p:grpSpPr>
              <a:xfrm>
                <a:off x="625978" y="3453789"/>
                <a:ext cx="1911949" cy="988941"/>
                <a:chOff x="625978" y="3024166"/>
                <a:chExt cx="1613559" cy="744534"/>
              </a:xfrm>
            </p:grpSpPr>
            <p:sp>
              <p:nvSpPr>
                <p:cNvPr id="324" name="TextBox 323"/>
                <p:cNvSpPr txBox="1"/>
                <p:nvPr/>
              </p:nvSpPr>
              <p:spPr>
                <a:xfrm>
                  <a:off x="625978" y="3362199"/>
                  <a:ext cx="1613559" cy="4065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72000" tIns="36000" rIns="72000" bIns="72000" rtlCol="0">
                  <a:spAutoFit/>
                </a:bodyPr>
                <a:lstStyle/>
                <a:p>
                  <a:pPr marL="285750" indent="-285750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Placeholder</a:t>
                  </a:r>
                </a:p>
                <a:p>
                  <a:pPr marL="285750" indent="-285750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Placeholder</a:t>
                  </a:r>
                </a:p>
              </p:txBody>
            </p:sp>
            <p:sp>
              <p:nvSpPr>
                <p:cNvPr id="325" name="_content"/>
                <p:cNvSpPr>
                  <a:spLocks noChangeArrowheads="1"/>
                </p:cNvSpPr>
                <p:nvPr/>
              </p:nvSpPr>
              <p:spPr bwMode="gray">
                <a:xfrm>
                  <a:off x="625978" y="3024166"/>
                  <a:ext cx="1613369" cy="337797"/>
                </a:xfrm>
                <a:prstGeom prst="round2SameRect">
                  <a:avLst>
                    <a:gd name="adj1" fmla="val 22906"/>
                    <a:gd name="adj2" fmla="val 0"/>
                  </a:avLst>
                </a:prstGeom>
                <a:gradFill>
                  <a:gsLst>
                    <a:gs pos="0">
                      <a:schemeClr val="accent3">
                        <a:lumMod val="90000"/>
                        <a:lumOff val="10000"/>
                      </a:schemeClr>
                    </a:gs>
                    <a:gs pos="100000">
                      <a:schemeClr val="accent3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n w="12700" algn="ctr">
                  <a:noFill/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936871">
                    <a:lnSpc>
                      <a:spcPct val="95000"/>
                    </a:lnSpc>
                    <a:spcAft>
                      <a:spcPts val="935"/>
                    </a:spcAft>
                    <a:defRPr/>
                  </a:pPr>
                  <a:r>
                    <a:rPr lang="en-US" sz="1400" b="1" noProof="1">
                      <a:solidFill>
                        <a:schemeClr val="bg1"/>
                      </a:solidFill>
                      <a:cs typeface="Arial" charset="0"/>
                    </a:rPr>
                    <a:t>PAID SERVICES</a:t>
                  </a:r>
                </a:p>
              </p:txBody>
            </p:sp>
          </p:grpSp>
          <p:grpSp>
            <p:nvGrpSpPr>
              <p:cNvPr id="331" name="Group 330"/>
              <p:cNvGrpSpPr/>
              <p:nvPr/>
            </p:nvGrpSpPr>
            <p:grpSpPr>
              <a:xfrm>
                <a:off x="625978" y="4736069"/>
                <a:ext cx="1911949" cy="988941"/>
                <a:chOff x="625978" y="3024166"/>
                <a:chExt cx="1613559" cy="744534"/>
              </a:xfrm>
            </p:grpSpPr>
            <p:sp>
              <p:nvSpPr>
                <p:cNvPr id="332" name="TextBox 331"/>
                <p:cNvSpPr txBox="1"/>
                <p:nvPr/>
              </p:nvSpPr>
              <p:spPr>
                <a:xfrm>
                  <a:off x="625978" y="3362199"/>
                  <a:ext cx="1613559" cy="4065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72000" tIns="36000" rIns="72000" bIns="72000" rtlCol="0">
                  <a:spAutoFit/>
                </a:bodyPr>
                <a:lstStyle/>
                <a:p>
                  <a:pPr marL="285750" indent="-285750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Placeholder</a:t>
                  </a:r>
                </a:p>
                <a:p>
                  <a:pPr marL="285750" indent="-285750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Placeholder</a:t>
                  </a:r>
                </a:p>
              </p:txBody>
            </p:sp>
            <p:sp>
              <p:nvSpPr>
                <p:cNvPr id="333" name="_content"/>
                <p:cNvSpPr>
                  <a:spLocks noChangeArrowheads="1"/>
                </p:cNvSpPr>
                <p:nvPr/>
              </p:nvSpPr>
              <p:spPr bwMode="gray">
                <a:xfrm>
                  <a:off x="625978" y="3024166"/>
                  <a:ext cx="1613369" cy="337797"/>
                </a:xfrm>
                <a:prstGeom prst="round2SameRect">
                  <a:avLst>
                    <a:gd name="adj1" fmla="val 22906"/>
                    <a:gd name="adj2" fmla="val 0"/>
                  </a:avLst>
                </a:prstGeom>
                <a:gradFill>
                  <a:gsLst>
                    <a:gs pos="0">
                      <a:schemeClr val="accent3">
                        <a:lumMod val="90000"/>
                        <a:lumOff val="10000"/>
                      </a:schemeClr>
                    </a:gs>
                    <a:gs pos="100000">
                      <a:schemeClr val="accent3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n w="12700" algn="ctr">
                  <a:noFill/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936871">
                    <a:lnSpc>
                      <a:spcPct val="95000"/>
                    </a:lnSpc>
                    <a:spcAft>
                      <a:spcPts val="935"/>
                    </a:spcAft>
                    <a:defRPr/>
                  </a:pPr>
                  <a:r>
                    <a:rPr lang="en-US" sz="1400" b="1" noProof="1">
                      <a:solidFill>
                        <a:schemeClr val="bg1"/>
                      </a:solidFill>
                      <a:cs typeface="Arial" charset="0"/>
                    </a:rPr>
                    <a:t>FREE SERVICES</a:t>
                  </a:r>
                </a:p>
              </p:txBody>
            </p:sp>
          </p:grpSp>
        </p:grpSp>
        <p:grpSp>
          <p:nvGrpSpPr>
            <p:cNvPr id="337" name="Group 336"/>
            <p:cNvGrpSpPr/>
            <p:nvPr/>
          </p:nvGrpSpPr>
          <p:grpSpPr>
            <a:xfrm flipH="1">
              <a:off x="6298163" y="2791525"/>
              <a:ext cx="5279247" cy="2271221"/>
              <a:chOff x="625978" y="3453789"/>
              <a:chExt cx="5279247" cy="2271221"/>
            </a:xfrm>
          </p:grpSpPr>
          <p:cxnSp>
            <p:nvCxnSpPr>
              <p:cNvPr id="338" name="Gerade Verbindung 16"/>
              <p:cNvCxnSpPr/>
              <p:nvPr/>
            </p:nvCxnSpPr>
            <p:spPr bwMode="gray">
              <a:xfrm>
                <a:off x="2659224" y="3696715"/>
                <a:ext cx="3246001" cy="0"/>
              </a:xfrm>
              <a:prstGeom prst="line">
                <a:avLst/>
              </a:prstGeom>
              <a:noFill/>
              <a:ln w="6350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oval"/>
                <a:tailEnd/>
              </a:ln>
            </p:spPr>
          </p:cxnSp>
          <p:cxnSp>
            <p:nvCxnSpPr>
              <p:cNvPr id="339" name="Gerade Verbindung 20"/>
              <p:cNvCxnSpPr/>
              <p:nvPr/>
            </p:nvCxnSpPr>
            <p:spPr bwMode="gray">
              <a:xfrm flipV="1">
                <a:off x="2659421" y="4956815"/>
                <a:ext cx="2224625" cy="1"/>
              </a:xfrm>
              <a:prstGeom prst="line">
                <a:avLst/>
              </a:prstGeom>
              <a:noFill/>
              <a:ln w="6350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oval"/>
                <a:tailEnd/>
              </a:ln>
            </p:spPr>
          </p:cxnSp>
          <p:grpSp>
            <p:nvGrpSpPr>
              <p:cNvPr id="340" name="Group 339"/>
              <p:cNvGrpSpPr/>
              <p:nvPr/>
            </p:nvGrpSpPr>
            <p:grpSpPr>
              <a:xfrm>
                <a:off x="625978" y="3453789"/>
                <a:ext cx="1911949" cy="988941"/>
                <a:chOff x="625978" y="3024166"/>
                <a:chExt cx="1613559" cy="744534"/>
              </a:xfrm>
            </p:grpSpPr>
            <p:sp>
              <p:nvSpPr>
                <p:cNvPr id="344" name="TextBox 343"/>
                <p:cNvSpPr txBox="1"/>
                <p:nvPr/>
              </p:nvSpPr>
              <p:spPr>
                <a:xfrm>
                  <a:off x="625978" y="3362199"/>
                  <a:ext cx="1613559" cy="4065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72000" tIns="36000" rIns="72000" bIns="72000" rtlCol="0">
                  <a:spAutoFit/>
                </a:bodyPr>
                <a:lstStyle/>
                <a:p>
                  <a:pPr marL="285750" indent="-285750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Placeholder</a:t>
                  </a:r>
                </a:p>
                <a:p>
                  <a:pPr marL="285750" indent="-285750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Placeholder</a:t>
                  </a:r>
                </a:p>
              </p:txBody>
            </p:sp>
            <p:sp>
              <p:nvSpPr>
                <p:cNvPr id="345" name="_content"/>
                <p:cNvSpPr>
                  <a:spLocks noChangeArrowheads="1"/>
                </p:cNvSpPr>
                <p:nvPr/>
              </p:nvSpPr>
              <p:spPr bwMode="gray">
                <a:xfrm>
                  <a:off x="625978" y="3024166"/>
                  <a:ext cx="1613369" cy="337797"/>
                </a:xfrm>
                <a:prstGeom prst="round2SameRect">
                  <a:avLst>
                    <a:gd name="adj1" fmla="val 22906"/>
                    <a:gd name="adj2" fmla="val 0"/>
                  </a:avLst>
                </a:prstGeom>
                <a:gradFill>
                  <a:gsLst>
                    <a:gs pos="0">
                      <a:schemeClr val="accent3">
                        <a:lumMod val="90000"/>
                        <a:lumOff val="10000"/>
                      </a:schemeClr>
                    </a:gs>
                    <a:gs pos="100000">
                      <a:schemeClr val="accent3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n w="12700" algn="ctr">
                  <a:noFill/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936871">
                    <a:lnSpc>
                      <a:spcPct val="95000"/>
                    </a:lnSpc>
                    <a:spcAft>
                      <a:spcPts val="935"/>
                    </a:spcAft>
                    <a:defRPr/>
                  </a:pPr>
                  <a:r>
                    <a:rPr lang="en-US" sz="1400" b="1" noProof="1">
                      <a:solidFill>
                        <a:schemeClr val="bg1"/>
                      </a:solidFill>
                      <a:cs typeface="Arial" charset="0"/>
                    </a:rPr>
                    <a:t>GOAL</a:t>
                  </a:r>
                </a:p>
              </p:txBody>
            </p:sp>
          </p:grpSp>
          <p:grpSp>
            <p:nvGrpSpPr>
              <p:cNvPr id="341" name="Group 340"/>
              <p:cNvGrpSpPr/>
              <p:nvPr/>
            </p:nvGrpSpPr>
            <p:grpSpPr>
              <a:xfrm>
                <a:off x="625978" y="4736069"/>
                <a:ext cx="1911949" cy="988941"/>
                <a:chOff x="625978" y="3024166"/>
                <a:chExt cx="1613559" cy="744534"/>
              </a:xfrm>
            </p:grpSpPr>
            <p:sp>
              <p:nvSpPr>
                <p:cNvPr id="342" name="TextBox 341"/>
                <p:cNvSpPr txBox="1"/>
                <p:nvPr/>
              </p:nvSpPr>
              <p:spPr>
                <a:xfrm>
                  <a:off x="625978" y="3362199"/>
                  <a:ext cx="1613559" cy="40650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72000" tIns="36000" rIns="72000" bIns="72000" rtlCol="0">
                  <a:spAutoFit/>
                </a:bodyPr>
                <a:lstStyle/>
                <a:p>
                  <a:pPr marL="285750" indent="-285750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Placeholder</a:t>
                  </a:r>
                </a:p>
                <a:p>
                  <a:pPr marL="285750" indent="-285750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Placeholder</a:t>
                  </a:r>
                </a:p>
              </p:txBody>
            </p:sp>
            <p:sp>
              <p:nvSpPr>
                <p:cNvPr id="343" name="_content"/>
                <p:cNvSpPr>
                  <a:spLocks noChangeArrowheads="1"/>
                </p:cNvSpPr>
                <p:nvPr/>
              </p:nvSpPr>
              <p:spPr bwMode="gray">
                <a:xfrm>
                  <a:off x="625978" y="3024166"/>
                  <a:ext cx="1613369" cy="337797"/>
                </a:xfrm>
                <a:prstGeom prst="round2SameRect">
                  <a:avLst>
                    <a:gd name="adj1" fmla="val 22906"/>
                    <a:gd name="adj2" fmla="val 0"/>
                  </a:avLst>
                </a:prstGeom>
                <a:gradFill>
                  <a:gsLst>
                    <a:gs pos="0">
                      <a:schemeClr val="accent3">
                        <a:lumMod val="90000"/>
                        <a:lumOff val="10000"/>
                      </a:schemeClr>
                    </a:gs>
                    <a:gs pos="100000">
                      <a:schemeClr val="accent3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n w="12700" algn="ctr">
                  <a:noFill/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936871">
                    <a:lnSpc>
                      <a:spcPct val="95000"/>
                    </a:lnSpc>
                    <a:spcAft>
                      <a:spcPts val="935"/>
                    </a:spcAft>
                    <a:defRPr/>
                  </a:pPr>
                  <a:r>
                    <a:rPr lang="en-US" sz="1400" b="1" noProof="1">
                      <a:solidFill>
                        <a:schemeClr val="bg1"/>
                      </a:solidFill>
                      <a:cs typeface="Arial" charset="0"/>
                    </a:rPr>
                    <a:t>TRANSITION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81038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sumer Strateg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260" name="Ellipse 30"/>
          <p:cNvSpPr/>
          <p:nvPr/>
        </p:nvSpPr>
        <p:spPr bwMode="gray">
          <a:xfrm>
            <a:off x="6159191" y="5559308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grpSp>
        <p:nvGrpSpPr>
          <p:cNvPr id="261" name="Gruppieren 44"/>
          <p:cNvGrpSpPr/>
          <p:nvPr/>
        </p:nvGrpSpPr>
        <p:grpSpPr bwMode="gray">
          <a:xfrm>
            <a:off x="4477994" y="2730964"/>
            <a:ext cx="3245999" cy="2930146"/>
            <a:chOff x="2520949" y="2016199"/>
            <a:chExt cx="4133851" cy="3732090"/>
          </a:xfrm>
          <a:solidFill>
            <a:srgbClr val="B3E900"/>
          </a:solidFill>
        </p:grpSpPr>
        <p:sp>
          <p:nvSpPr>
            <p:cNvPr id="262" name="Freeform 31"/>
            <p:cNvSpPr>
              <a:spLocks/>
            </p:cNvSpPr>
            <p:nvPr/>
          </p:nvSpPr>
          <p:spPr bwMode="gray">
            <a:xfrm>
              <a:off x="2520950" y="2254201"/>
              <a:ext cx="4133850" cy="2792412"/>
            </a:xfrm>
            <a:custGeom>
              <a:avLst/>
              <a:gdLst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3357681 w 4133850"/>
                <a:gd name="connsiteY3" fmla="*/ 1346732 h 2792412"/>
                <a:gd name="connsiteX4" fmla="*/ 3356609 w 4133850"/>
                <a:gd name="connsiteY4" fmla="*/ 1348340 h 2792412"/>
                <a:gd name="connsiteX5" fmla="*/ 3349105 w 4133850"/>
                <a:gd name="connsiteY5" fmla="*/ 1359599 h 2792412"/>
                <a:gd name="connsiteX6" fmla="*/ 3348569 w 4133850"/>
                <a:gd name="connsiteY6" fmla="*/ 1361207 h 2792412"/>
                <a:gd name="connsiteX7" fmla="*/ 3344816 w 4133850"/>
                <a:gd name="connsiteY7" fmla="*/ 1372466 h 2792412"/>
                <a:gd name="connsiteX8" fmla="*/ 2066925 w 4133850"/>
                <a:gd name="connsiteY8" fmla="*/ 1509712 h 2792412"/>
                <a:gd name="connsiteX9" fmla="*/ 848588 w 4133850"/>
                <a:gd name="connsiteY9" fmla="*/ 1400926 h 2792412"/>
                <a:gd name="connsiteX10" fmla="*/ 3344863 w 4133850"/>
                <a:gd name="connsiteY10" fmla="*/ 1373187 h 2792412"/>
                <a:gd name="connsiteX11" fmla="*/ 2560724 w 4133850"/>
                <a:gd name="connsiteY11" fmla="*/ 2728097 h 2792412"/>
                <a:gd name="connsiteX12" fmla="*/ 2072243 w 4133850"/>
                <a:gd name="connsiteY12" fmla="*/ 2792412 h 2792412"/>
                <a:gd name="connsiteX13" fmla="*/ 1583763 w 4133850"/>
                <a:gd name="connsiteY13" fmla="*/ 2732385 h 2792412"/>
                <a:gd name="connsiteX14" fmla="*/ 795876 w 4133850"/>
                <a:gd name="connsiteY14" fmla="*/ 1374119 h 2792412"/>
                <a:gd name="connsiteX15" fmla="*/ 793322 w 4133850"/>
                <a:gd name="connsiteY15" fmla="*/ 1372466 h 2792412"/>
                <a:gd name="connsiteX16" fmla="*/ 792250 w 4133850"/>
                <a:gd name="connsiteY16" fmla="*/ 1370857 h 2792412"/>
                <a:gd name="connsiteX17" fmla="*/ 784746 w 4133850"/>
                <a:gd name="connsiteY17" fmla="*/ 1359599 h 2792412"/>
                <a:gd name="connsiteX18" fmla="*/ 784210 w 4133850"/>
                <a:gd name="connsiteY18" fmla="*/ 1357990 h 2792412"/>
                <a:gd name="connsiteX19" fmla="*/ 780457 w 4133850"/>
                <a:gd name="connsiteY19" fmla="*/ 1346732 h 2792412"/>
                <a:gd name="connsiteX20" fmla="*/ 0 w 4133850"/>
                <a:gd name="connsiteY20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3357681 w 4133850"/>
                <a:gd name="connsiteY3" fmla="*/ 1346732 h 2792412"/>
                <a:gd name="connsiteX4" fmla="*/ 3356609 w 4133850"/>
                <a:gd name="connsiteY4" fmla="*/ 1348340 h 2792412"/>
                <a:gd name="connsiteX5" fmla="*/ 3349105 w 4133850"/>
                <a:gd name="connsiteY5" fmla="*/ 1359599 h 2792412"/>
                <a:gd name="connsiteX6" fmla="*/ 3348569 w 4133850"/>
                <a:gd name="connsiteY6" fmla="*/ 1361207 h 2792412"/>
                <a:gd name="connsiteX7" fmla="*/ 3344816 w 4133850"/>
                <a:gd name="connsiteY7" fmla="*/ 1372466 h 2792412"/>
                <a:gd name="connsiteX8" fmla="*/ 848588 w 4133850"/>
                <a:gd name="connsiteY8" fmla="*/ 1400926 h 2792412"/>
                <a:gd name="connsiteX9" fmla="*/ 3344863 w 4133850"/>
                <a:gd name="connsiteY9" fmla="*/ 1373187 h 2792412"/>
                <a:gd name="connsiteX10" fmla="*/ 2560724 w 4133850"/>
                <a:gd name="connsiteY10" fmla="*/ 2728097 h 2792412"/>
                <a:gd name="connsiteX11" fmla="*/ 2072243 w 4133850"/>
                <a:gd name="connsiteY11" fmla="*/ 2792412 h 2792412"/>
                <a:gd name="connsiteX12" fmla="*/ 1583763 w 4133850"/>
                <a:gd name="connsiteY12" fmla="*/ 2732385 h 2792412"/>
                <a:gd name="connsiteX13" fmla="*/ 795876 w 4133850"/>
                <a:gd name="connsiteY13" fmla="*/ 1374119 h 2792412"/>
                <a:gd name="connsiteX14" fmla="*/ 793322 w 4133850"/>
                <a:gd name="connsiteY14" fmla="*/ 1372466 h 2792412"/>
                <a:gd name="connsiteX15" fmla="*/ 792250 w 4133850"/>
                <a:gd name="connsiteY15" fmla="*/ 1370857 h 2792412"/>
                <a:gd name="connsiteX16" fmla="*/ 784746 w 4133850"/>
                <a:gd name="connsiteY16" fmla="*/ 1359599 h 2792412"/>
                <a:gd name="connsiteX17" fmla="*/ 784210 w 4133850"/>
                <a:gd name="connsiteY17" fmla="*/ 1357990 h 2792412"/>
                <a:gd name="connsiteX18" fmla="*/ 780457 w 4133850"/>
                <a:gd name="connsiteY18" fmla="*/ 1346732 h 2792412"/>
                <a:gd name="connsiteX19" fmla="*/ 0 w 4133850"/>
                <a:gd name="connsiteY19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3357681 w 4133850"/>
                <a:gd name="connsiteY3" fmla="*/ 1346732 h 2792412"/>
                <a:gd name="connsiteX4" fmla="*/ 3356609 w 4133850"/>
                <a:gd name="connsiteY4" fmla="*/ 1348340 h 2792412"/>
                <a:gd name="connsiteX5" fmla="*/ 3349105 w 4133850"/>
                <a:gd name="connsiteY5" fmla="*/ 1359599 h 2792412"/>
                <a:gd name="connsiteX6" fmla="*/ 3348569 w 4133850"/>
                <a:gd name="connsiteY6" fmla="*/ 1361207 h 2792412"/>
                <a:gd name="connsiteX7" fmla="*/ 3344816 w 4133850"/>
                <a:gd name="connsiteY7" fmla="*/ 1372466 h 2792412"/>
                <a:gd name="connsiteX8" fmla="*/ 848588 w 4133850"/>
                <a:gd name="connsiteY8" fmla="*/ 1400926 h 2792412"/>
                <a:gd name="connsiteX9" fmla="*/ 2560724 w 4133850"/>
                <a:gd name="connsiteY9" fmla="*/ 2728097 h 2792412"/>
                <a:gd name="connsiteX10" fmla="*/ 2072243 w 4133850"/>
                <a:gd name="connsiteY10" fmla="*/ 2792412 h 2792412"/>
                <a:gd name="connsiteX11" fmla="*/ 1583763 w 4133850"/>
                <a:gd name="connsiteY11" fmla="*/ 2732385 h 2792412"/>
                <a:gd name="connsiteX12" fmla="*/ 795876 w 4133850"/>
                <a:gd name="connsiteY12" fmla="*/ 1374119 h 2792412"/>
                <a:gd name="connsiteX13" fmla="*/ 793322 w 4133850"/>
                <a:gd name="connsiteY13" fmla="*/ 1372466 h 2792412"/>
                <a:gd name="connsiteX14" fmla="*/ 792250 w 4133850"/>
                <a:gd name="connsiteY14" fmla="*/ 1370857 h 2792412"/>
                <a:gd name="connsiteX15" fmla="*/ 784746 w 4133850"/>
                <a:gd name="connsiteY15" fmla="*/ 1359599 h 2792412"/>
                <a:gd name="connsiteX16" fmla="*/ 784210 w 4133850"/>
                <a:gd name="connsiteY16" fmla="*/ 1357990 h 2792412"/>
                <a:gd name="connsiteX17" fmla="*/ 780457 w 4133850"/>
                <a:gd name="connsiteY17" fmla="*/ 1346732 h 2792412"/>
                <a:gd name="connsiteX18" fmla="*/ 0 w 4133850"/>
                <a:gd name="connsiteY18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3357681 w 4133850"/>
                <a:gd name="connsiteY3" fmla="*/ 1346732 h 2792412"/>
                <a:gd name="connsiteX4" fmla="*/ 3356609 w 4133850"/>
                <a:gd name="connsiteY4" fmla="*/ 1348340 h 2792412"/>
                <a:gd name="connsiteX5" fmla="*/ 3349105 w 4133850"/>
                <a:gd name="connsiteY5" fmla="*/ 1359599 h 2792412"/>
                <a:gd name="connsiteX6" fmla="*/ 3348569 w 4133850"/>
                <a:gd name="connsiteY6" fmla="*/ 1361207 h 2792412"/>
                <a:gd name="connsiteX7" fmla="*/ 848588 w 4133850"/>
                <a:gd name="connsiteY7" fmla="*/ 1400926 h 2792412"/>
                <a:gd name="connsiteX8" fmla="*/ 2560724 w 4133850"/>
                <a:gd name="connsiteY8" fmla="*/ 2728097 h 2792412"/>
                <a:gd name="connsiteX9" fmla="*/ 2072243 w 4133850"/>
                <a:gd name="connsiteY9" fmla="*/ 2792412 h 2792412"/>
                <a:gd name="connsiteX10" fmla="*/ 1583763 w 4133850"/>
                <a:gd name="connsiteY10" fmla="*/ 2732385 h 2792412"/>
                <a:gd name="connsiteX11" fmla="*/ 795876 w 4133850"/>
                <a:gd name="connsiteY11" fmla="*/ 1374119 h 2792412"/>
                <a:gd name="connsiteX12" fmla="*/ 793322 w 4133850"/>
                <a:gd name="connsiteY12" fmla="*/ 1372466 h 2792412"/>
                <a:gd name="connsiteX13" fmla="*/ 792250 w 4133850"/>
                <a:gd name="connsiteY13" fmla="*/ 1370857 h 2792412"/>
                <a:gd name="connsiteX14" fmla="*/ 784746 w 4133850"/>
                <a:gd name="connsiteY14" fmla="*/ 1359599 h 2792412"/>
                <a:gd name="connsiteX15" fmla="*/ 784210 w 4133850"/>
                <a:gd name="connsiteY15" fmla="*/ 1357990 h 2792412"/>
                <a:gd name="connsiteX16" fmla="*/ 780457 w 4133850"/>
                <a:gd name="connsiteY16" fmla="*/ 1346732 h 2792412"/>
                <a:gd name="connsiteX17" fmla="*/ 0 w 4133850"/>
                <a:gd name="connsiteY17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3357681 w 4133850"/>
                <a:gd name="connsiteY3" fmla="*/ 1346732 h 2792412"/>
                <a:gd name="connsiteX4" fmla="*/ 3356609 w 4133850"/>
                <a:gd name="connsiteY4" fmla="*/ 1348340 h 2792412"/>
                <a:gd name="connsiteX5" fmla="*/ 3349105 w 4133850"/>
                <a:gd name="connsiteY5" fmla="*/ 1359599 h 2792412"/>
                <a:gd name="connsiteX6" fmla="*/ 848588 w 4133850"/>
                <a:gd name="connsiteY6" fmla="*/ 1400926 h 2792412"/>
                <a:gd name="connsiteX7" fmla="*/ 2560724 w 4133850"/>
                <a:gd name="connsiteY7" fmla="*/ 2728097 h 2792412"/>
                <a:gd name="connsiteX8" fmla="*/ 2072243 w 4133850"/>
                <a:gd name="connsiteY8" fmla="*/ 2792412 h 2792412"/>
                <a:gd name="connsiteX9" fmla="*/ 1583763 w 4133850"/>
                <a:gd name="connsiteY9" fmla="*/ 2732385 h 2792412"/>
                <a:gd name="connsiteX10" fmla="*/ 795876 w 4133850"/>
                <a:gd name="connsiteY10" fmla="*/ 1374119 h 2792412"/>
                <a:gd name="connsiteX11" fmla="*/ 793322 w 4133850"/>
                <a:gd name="connsiteY11" fmla="*/ 1372466 h 2792412"/>
                <a:gd name="connsiteX12" fmla="*/ 792250 w 4133850"/>
                <a:gd name="connsiteY12" fmla="*/ 1370857 h 2792412"/>
                <a:gd name="connsiteX13" fmla="*/ 784746 w 4133850"/>
                <a:gd name="connsiteY13" fmla="*/ 1359599 h 2792412"/>
                <a:gd name="connsiteX14" fmla="*/ 784210 w 4133850"/>
                <a:gd name="connsiteY14" fmla="*/ 1357990 h 2792412"/>
                <a:gd name="connsiteX15" fmla="*/ 780457 w 4133850"/>
                <a:gd name="connsiteY15" fmla="*/ 1346732 h 2792412"/>
                <a:gd name="connsiteX16" fmla="*/ 0 w 4133850"/>
                <a:gd name="connsiteY16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3357681 w 4133850"/>
                <a:gd name="connsiteY3" fmla="*/ 1346732 h 2792412"/>
                <a:gd name="connsiteX4" fmla="*/ 3356609 w 4133850"/>
                <a:gd name="connsiteY4" fmla="*/ 1348340 h 2792412"/>
                <a:gd name="connsiteX5" fmla="*/ 848588 w 4133850"/>
                <a:gd name="connsiteY5" fmla="*/ 1400926 h 2792412"/>
                <a:gd name="connsiteX6" fmla="*/ 2560724 w 4133850"/>
                <a:gd name="connsiteY6" fmla="*/ 2728097 h 2792412"/>
                <a:gd name="connsiteX7" fmla="*/ 2072243 w 4133850"/>
                <a:gd name="connsiteY7" fmla="*/ 2792412 h 2792412"/>
                <a:gd name="connsiteX8" fmla="*/ 1583763 w 4133850"/>
                <a:gd name="connsiteY8" fmla="*/ 2732385 h 2792412"/>
                <a:gd name="connsiteX9" fmla="*/ 795876 w 4133850"/>
                <a:gd name="connsiteY9" fmla="*/ 1374119 h 2792412"/>
                <a:gd name="connsiteX10" fmla="*/ 793322 w 4133850"/>
                <a:gd name="connsiteY10" fmla="*/ 1372466 h 2792412"/>
                <a:gd name="connsiteX11" fmla="*/ 792250 w 4133850"/>
                <a:gd name="connsiteY11" fmla="*/ 1370857 h 2792412"/>
                <a:gd name="connsiteX12" fmla="*/ 784746 w 4133850"/>
                <a:gd name="connsiteY12" fmla="*/ 1359599 h 2792412"/>
                <a:gd name="connsiteX13" fmla="*/ 784210 w 4133850"/>
                <a:gd name="connsiteY13" fmla="*/ 1357990 h 2792412"/>
                <a:gd name="connsiteX14" fmla="*/ 780457 w 4133850"/>
                <a:gd name="connsiteY14" fmla="*/ 1346732 h 2792412"/>
                <a:gd name="connsiteX15" fmla="*/ 0 w 4133850"/>
                <a:gd name="connsiteY15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3357681 w 4133850"/>
                <a:gd name="connsiteY3" fmla="*/ 1346732 h 2792412"/>
                <a:gd name="connsiteX4" fmla="*/ 848588 w 4133850"/>
                <a:gd name="connsiteY4" fmla="*/ 1400926 h 2792412"/>
                <a:gd name="connsiteX5" fmla="*/ 2560724 w 4133850"/>
                <a:gd name="connsiteY5" fmla="*/ 2728097 h 2792412"/>
                <a:gd name="connsiteX6" fmla="*/ 2072243 w 4133850"/>
                <a:gd name="connsiteY6" fmla="*/ 2792412 h 2792412"/>
                <a:gd name="connsiteX7" fmla="*/ 1583763 w 4133850"/>
                <a:gd name="connsiteY7" fmla="*/ 2732385 h 2792412"/>
                <a:gd name="connsiteX8" fmla="*/ 795876 w 4133850"/>
                <a:gd name="connsiteY8" fmla="*/ 1374119 h 2792412"/>
                <a:gd name="connsiteX9" fmla="*/ 793322 w 4133850"/>
                <a:gd name="connsiteY9" fmla="*/ 1372466 h 2792412"/>
                <a:gd name="connsiteX10" fmla="*/ 792250 w 4133850"/>
                <a:gd name="connsiteY10" fmla="*/ 1370857 h 2792412"/>
                <a:gd name="connsiteX11" fmla="*/ 784746 w 4133850"/>
                <a:gd name="connsiteY11" fmla="*/ 1359599 h 2792412"/>
                <a:gd name="connsiteX12" fmla="*/ 784210 w 4133850"/>
                <a:gd name="connsiteY12" fmla="*/ 1357990 h 2792412"/>
                <a:gd name="connsiteX13" fmla="*/ 780457 w 4133850"/>
                <a:gd name="connsiteY13" fmla="*/ 1346732 h 2792412"/>
                <a:gd name="connsiteX14" fmla="*/ 0 w 4133850"/>
                <a:gd name="connsiteY14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848588 w 4133850"/>
                <a:gd name="connsiteY3" fmla="*/ 1400926 h 2792412"/>
                <a:gd name="connsiteX4" fmla="*/ 2560724 w 4133850"/>
                <a:gd name="connsiteY4" fmla="*/ 2728097 h 2792412"/>
                <a:gd name="connsiteX5" fmla="*/ 2072243 w 4133850"/>
                <a:gd name="connsiteY5" fmla="*/ 2792412 h 2792412"/>
                <a:gd name="connsiteX6" fmla="*/ 1583763 w 4133850"/>
                <a:gd name="connsiteY6" fmla="*/ 2732385 h 2792412"/>
                <a:gd name="connsiteX7" fmla="*/ 795876 w 4133850"/>
                <a:gd name="connsiteY7" fmla="*/ 1374119 h 2792412"/>
                <a:gd name="connsiteX8" fmla="*/ 793322 w 4133850"/>
                <a:gd name="connsiteY8" fmla="*/ 1372466 h 2792412"/>
                <a:gd name="connsiteX9" fmla="*/ 792250 w 4133850"/>
                <a:gd name="connsiteY9" fmla="*/ 1370857 h 2792412"/>
                <a:gd name="connsiteX10" fmla="*/ 784746 w 4133850"/>
                <a:gd name="connsiteY10" fmla="*/ 1359599 h 2792412"/>
                <a:gd name="connsiteX11" fmla="*/ 784210 w 4133850"/>
                <a:gd name="connsiteY11" fmla="*/ 1357990 h 2792412"/>
                <a:gd name="connsiteX12" fmla="*/ 780457 w 4133850"/>
                <a:gd name="connsiteY12" fmla="*/ 1346732 h 2792412"/>
                <a:gd name="connsiteX13" fmla="*/ 0 w 4133850"/>
                <a:gd name="connsiteY13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2560724 w 4133850"/>
                <a:gd name="connsiteY3" fmla="*/ 2728097 h 2792412"/>
                <a:gd name="connsiteX4" fmla="*/ 2072243 w 4133850"/>
                <a:gd name="connsiteY4" fmla="*/ 2792412 h 2792412"/>
                <a:gd name="connsiteX5" fmla="*/ 1583763 w 4133850"/>
                <a:gd name="connsiteY5" fmla="*/ 2732385 h 2792412"/>
                <a:gd name="connsiteX6" fmla="*/ 795876 w 4133850"/>
                <a:gd name="connsiteY6" fmla="*/ 1374119 h 2792412"/>
                <a:gd name="connsiteX7" fmla="*/ 793322 w 4133850"/>
                <a:gd name="connsiteY7" fmla="*/ 1372466 h 2792412"/>
                <a:gd name="connsiteX8" fmla="*/ 792250 w 4133850"/>
                <a:gd name="connsiteY8" fmla="*/ 1370857 h 2792412"/>
                <a:gd name="connsiteX9" fmla="*/ 784746 w 4133850"/>
                <a:gd name="connsiteY9" fmla="*/ 1359599 h 2792412"/>
                <a:gd name="connsiteX10" fmla="*/ 784210 w 4133850"/>
                <a:gd name="connsiteY10" fmla="*/ 1357990 h 2792412"/>
                <a:gd name="connsiteX11" fmla="*/ 780457 w 4133850"/>
                <a:gd name="connsiteY11" fmla="*/ 1346732 h 2792412"/>
                <a:gd name="connsiteX12" fmla="*/ 0 w 4133850"/>
                <a:gd name="connsiteY12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2560724 w 4133850"/>
                <a:gd name="connsiteY3" fmla="*/ 2728097 h 2792412"/>
                <a:gd name="connsiteX4" fmla="*/ 2072243 w 4133850"/>
                <a:gd name="connsiteY4" fmla="*/ 2792412 h 2792412"/>
                <a:gd name="connsiteX5" fmla="*/ 1583763 w 4133850"/>
                <a:gd name="connsiteY5" fmla="*/ 2732385 h 2792412"/>
                <a:gd name="connsiteX6" fmla="*/ 795876 w 4133850"/>
                <a:gd name="connsiteY6" fmla="*/ 1374119 h 2792412"/>
                <a:gd name="connsiteX7" fmla="*/ 793322 w 4133850"/>
                <a:gd name="connsiteY7" fmla="*/ 1372466 h 2792412"/>
                <a:gd name="connsiteX8" fmla="*/ 792250 w 4133850"/>
                <a:gd name="connsiteY8" fmla="*/ 1370857 h 2792412"/>
                <a:gd name="connsiteX9" fmla="*/ 784746 w 4133850"/>
                <a:gd name="connsiteY9" fmla="*/ 1359599 h 2792412"/>
                <a:gd name="connsiteX10" fmla="*/ 784210 w 4133850"/>
                <a:gd name="connsiteY10" fmla="*/ 1357990 h 2792412"/>
                <a:gd name="connsiteX11" fmla="*/ 0 w 4133850"/>
                <a:gd name="connsiteY11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2560724 w 4133850"/>
                <a:gd name="connsiteY3" fmla="*/ 2728097 h 2792412"/>
                <a:gd name="connsiteX4" fmla="*/ 2072243 w 4133850"/>
                <a:gd name="connsiteY4" fmla="*/ 2792412 h 2792412"/>
                <a:gd name="connsiteX5" fmla="*/ 1583763 w 4133850"/>
                <a:gd name="connsiteY5" fmla="*/ 2732385 h 2792412"/>
                <a:gd name="connsiteX6" fmla="*/ 795876 w 4133850"/>
                <a:gd name="connsiteY6" fmla="*/ 1374119 h 2792412"/>
                <a:gd name="connsiteX7" fmla="*/ 793322 w 4133850"/>
                <a:gd name="connsiteY7" fmla="*/ 1372466 h 2792412"/>
                <a:gd name="connsiteX8" fmla="*/ 792250 w 4133850"/>
                <a:gd name="connsiteY8" fmla="*/ 1370857 h 2792412"/>
                <a:gd name="connsiteX9" fmla="*/ 784746 w 4133850"/>
                <a:gd name="connsiteY9" fmla="*/ 1359599 h 2792412"/>
                <a:gd name="connsiteX10" fmla="*/ 0 w 4133850"/>
                <a:gd name="connsiteY10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2560724 w 4133850"/>
                <a:gd name="connsiteY3" fmla="*/ 2728097 h 2792412"/>
                <a:gd name="connsiteX4" fmla="*/ 2072243 w 4133850"/>
                <a:gd name="connsiteY4" fmla="*/ 2792412 h 2792412"/>
                <a:gd name="connsiteX5" fmla="*/ 1583763 w 4133850"/>
                <a:gd name="connsiteY5" fmla="*/ 2732385 h 2792412"/>
                <a:gd name="connsiteX6" fmla="*/ 795876 w 4133850"/>
                <a:gd name="connsiteY6" fmla="*/ 1374119 h 2792412"/>
                <a:gd name="connsiteX7" fmla="*/ 793322 w 4133850"/>
                <a:gd name="connsiteY7" fmla="*/ 1372466 h 2792412"/>
                <a:gd name="connsiteX8" fmla="*/ 792250 w 4133850"/>
                <a:gd name="connsiteY8" fmla="*/ 1370857 h 2792412"/>
                <a:gd name="connsiteX9" fmla="*/ 0 w 4133850"/>
                <a:gd name="connsiteY9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2560724 w 4133850"/>
                <a:gd name="connsiteY3" fmla="*/ 2728097 h 2792412"/>
                <a:gd name="connsiteX4" fmla="*/ 2072243 w 4133850"/>
                <a:gd name="connsiteY4" fmla="*/ 2792412 h 2792412"/>
                <a:gd name="connsiteX5" fmla="*/ 1583763 w 4133850"/>
                <a:gd name="connsiteY5" fmla="*/ 2732385 h 2792412"/>
                <a:gd name="connsiteX6" fmla="*/ 795876 w 4133850"/>
                <a:gd name="connsiteY6" fmla="*/ 1374119 h 2792412"/>
                <a:gd name="connsiteX7" fmla="*/ 793322 w 4133850"/>
                <a:gd name="connsiteY7" fmla="*/ 1372466 h 2792412"/>
                <a:gd name="connsiteX8" fmla="*/ 0 w 4133850"/>
                <a:gd name="connsiteY8" fmla="*/ 0 h 2792412"/>
                <a:gd name="connsiteX0" fmla="*/ 0 w 4133850"/>
                <a:gd name="connsiteY0" fmla="*/ 0 h 2792412"/>
                <a:gd name="connsiteX1" fmla="*/ 2066925 w 4133850"/>
                <a:gd name="connsiteY1" fmla="*/ 193003 h 2792412"/>
                <a:gd name="connsiteX2" fmla="*/ 4133850 w 4133850"/>
                <a:gd name="connsiteY2" fmla="*/ 0 h 2792412"/>
                <a:gd name="connsiteX3" fmla="*/ 2560724 w 4133850"/>
                <a:gd name="connsiteY3" fmla="*/ 2728097 h 2792412"/>
                <a:gd name="connsiteX4" fmla="*/ 2072243 w 4133850"/>
                <a:gd name="connsiteY4" fmla="*/ 2792412 h 2792412"/>
                <a:gd name="connsiteX5" fmla="*/ 1583763 w 4133850"/>
                <a:gd name="connsiteY5" fmla="*/ 2732385 h 2792412"/>
                <a:gd name="connsiteX6" fmla="*/ 795876 w 4133850"/>
                <a:gd name="connsiteY6" fmla="*/ 1374119 h 2792412"/>
                <a:gd name="connsiteX7" fmla="*/ 0 w 4133850"/>
                <a:gd name="connsiteY7" fmla="*/ 0 h 279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33850" h="2792412">
                  <a:moveTo>
                    <a:pt x="0" y="0"/>
                  </a:moveTo>
                  <a:cubicBezTo>
                    <a:pt x="154376" y="107224"/>
                    <a:pt x="1020598" y="193003"/>
                    <a:pt x="2066925" y="193003"/>
                  </a:cubicBezTo>
                  <a:cubicBezTo>
                    <a:pt x="3113252" y="193003"/>
                    <a:pt x="3983762" y="107224"/>
                    <a:pt x="4133850" y="0"/>
                  </a:cubicBezTo>
                  <a:lnTo>
                    <a:pt x="2560724" y="2728097"/>
                  </a:lnTo>
                  <a:cubicBezTo>
                    <a:pt x="2530729" y="2766686"/>
                    <a:pt x="2325053" y="2792412"/>
                    <a:pt x="2072243" y="2792412"/>
                  </a:cubicBezTo>
                  <a:cubicBezTo>
                    <a:pt x="1815148" y="2792412"/>
                    <a:pt x="1605187" y="2766686"/>
                    <a:pt x="1583763" y="2732385"/>
                  </a:cubicBezTo>
                  <a:cubicBezTo>
                    <a:pt x="1579478" y="2732385"/>
                    <a:pt x="1579478" y="2732385"/>
                    <a:pt x="795876" y="13741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3175" cap="sq">
              <a:noFill/>
              <a:miter lim="800000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 dirty="0">
                <a:solidFill>
                  <a:srgbClr val="72B90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3" name="Oval 30"/>
            <p:cNvSpPr>
              <a:spLocks noChangeArrowheads="1"/>
            </p:cNvSpPr>
            <p:nvPr/>
          </p:nvSpPr>
          <p:spPr bwMode="gray">
            <a:xfrm>
              <a:off x="2520949" y="2016199"/>
              <a:ext cx="4133851" cy="454025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 w="31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 dirty="0">
                <a:solidFill>
                  <a:srgbClr val="72B90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4" name="Oval 36"/>
            <p:cNvSpPr>
              <a:spLocks noChangeArrowheads="1"/>
            </p:cNvSpPr>
            <p:nvPr/>
          </p:nvSpPr>
          <p:spPr bwMode="gray">
            <a:xfrm>
              <a:off x="4097337" y="4979939"/>
              <a:ext cx="981076" cy="768350"/>
            </a:xfrm>
            <a:custGeom>
              <a:avLst/>
              <a:gdLst/>
              <a:ahLst/>
              <a:cxnLst/>
              <a:rect l="l" t="t" r="r" b="b"/>
              <a:pathLst>
                <a:path w="981076" h="768350">
                  <a:moveTo>
                    <a:pt x="0" y="0"/>
                  </a:moveTo>
                  <a:cubicBezTo>
                    <a:pt x="5757" y="5039"/>
                    <a:pt x="11309" y="8729"/>
                    <a:pt x="19535" y="11442"/>
                  </a:cubicBezTo>
                  <a:cubicBezTo>
                    <a:pt x="21663" y="12862"/>
                    <a:pt x="24148" y="13991"/>
                    <a:pt x="27047" y="14614"/>
                  </a:cubicBezTo>
                  <a:cubicBezTo>
                    <a:pt x="32330" y="17558"/>
                    <a:pt x="38750" y="19632"/>
                    <a:pt x="46048" y="21281"/>
                  </a:cubicBezTo>
                  <a:cubicBezTo>
                    <a:pt x="122778" y="44672"/>
                    <a:pt x="293595" y="60130"/>
                    <a:pt x="492680" y="60130"/>
                  </a:cubicBezTo>
                  <a:cubicBezTo>
                    <a:pt x="745446" y="60130"/>
                    <a:pt x="951086" y="34360"/>
                    <a:pt x="981075" y="4295"/>
                  </a:cubicBezTo>
                  <a:cubicBezTo>
                    <a:pt x="981075" y="4311"/>
                    <a:pt x="981075" y="7574"/>
                    <a:pt x="981075" y="671174"/>
                  </a:cubicBezTo>
                  <a:cubicBezTo>
                    <a:pt x="981076" y="671175"/>
                    <a:pt x="981076" y="671176"/>
                    <a:pt x="981076" y="671176"/>
                  </a:cubicBezTo>
                  <a:lnTo>
                    <a:pt x="981075" y="671178"/>
                  </a:lnTo>
                  <a:cubicBezTo>
                    <a:pt x="981075" y="680679"/>
                    <a:pt x="981075" y="690314"/>
                    <a:pt x="981075" y="700087"/>
                  </a:cubicBezTo>
                  <a:cubicBezTo>
                    <a:pt x="981069" y="700087"/>
                    <a:pt x="980940" y="700087"/>
                    <a:pt x="978024" y="700087"/>
                  </a:cubicBezTo>
                  <a:lnTo>
                    <a:pt x="968511" y="692419"/>
                  </a:lnTo>
                  <a:cubicBezTo>
                    <a:pt x="919198" y="736071"/>
                    <a:pt x="723898" y="768350"/>
                    <a:pt x="490538" y="768350"/>
                  </a:cubicBezTo>
                  <a:cubicBezTo>
                    <a:pt x="257179" y="768350"/>
                    <a:pt x="61880" y="736071"/>
                    <a:pt x="12565" y="692419"/>
                  </a:cubicBezTo>
                  <a:cubicBezTo>
                    <a:pt x="7552" y="694222"/>
                    <a:pt x="4572" y="697125"/>
                    <a:pt x="3053" y="700087"/>
                  </a:cubicBezTo>
                  <a:cubicBezTo>
                    <a:pt x="2036" y="700087"/>
                    <a:pt x="1019" y="700087"/>
                    <a:pt x="0" y="700087"/>
                  </a:cubicBezTo>
                  <a:cubicBezTo>
                    <a:pt x="0" y="700082"/>
                    <a:pt x="0" y="699680"/>
                    <a:pt x="0" y="671176"/>
                  </a:cubicBezTo>
                  <a:cubicBezTo>
                    <a:pt x="0" y="616445"/>
                    <a:pt x="0" y="458101"/>
                    <a:pt x="0" y="0"/>
                  </a:cubicBezTo>
                  <a:close/>
                </a:path>
              </a:pathLst>
            </a:custGeom>
            <a:grpFill/>
            <a:ln w="19050" cap="sq">
              <a:solidFill>
                <a:schemeClr val="bg1"/>
              </a:solidFill>
              <a:miter lim="800000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 dirty="0">
                <a:solidFill>
                  <a:srgbClr val="72B90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5" name="Group 73"/>
          <p:cNvGrpSpPr>
            <a:grpSpLocks/>
          </p:cNvGrpSpPr>
          <p:nvPr/>
        </p:nvGrpSpPr>
        <p:grpSpPr bwMode="gray">
          <a:xfrm>
            <a:off x="4333325" y="2936540"/>
            <a:ext cx="1101427" cy="2084161"/>
            <a:chOff x="1491" y="1363"/>
            <a:chExt cx="865" cy="1637"/>
          </a:xfrm>
          <a:solidFill>
            <a:srgbClr val="B3E900"/>
          </a:solidFill>
        </p:grpSpPr>
        <p:sp>
          <p:nvSpPr>
            <p:cNvPr id="266" name="Text Box 45"/>
            <p:cNvSpPr txBox="1">
              <a:spLocks noChangeArrowheads="1"/>
            </p:cNvSpPr>
            <p:nvPr/>
          </p:nvSpPr>
          <p:spPr bwMode="gray">
            <a:xfrm rot="3625936">
              <a:off x="1324" y="2103"/>
              <a:ext cx="937" cy="2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gradFill rotWithShape="1">
                    <a:gsLst>
                      <a:gs pos="0">
                        <a:schemeClr val="folHlink"/>
                      </a:gs>
                      <a:gs pos="100000">
                        <a:schemeClr val="folHlink">
                          <a:gamma/>
                          <a:tint val="0"/>
                          <a:invGamma/>
                        </a:schemeClr>
                      </a:gs>
                    </a:gsLst>
                    <a:lin ang="5400000" scaled="1"/>
                  </a:gra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36000" rtlCol="0">
              <a:spAutoFit/>
            </a:bodyPr>
            <a:lstStyle>
              <a:defPPr>
                <a:defRPr lang="de-DE"/>
              </a:defPPr>
              <a:lvl1pPr>
                <a:defRPr sz="2000" b="1">
                  <a:solidFill>
                    <a:schemeClr val="accent1"/>
                  </a:solidFill>
                </a:defRPr>
              </a:lvl1pPr>
            </a:lstStyle>
            <a:p>
              <a:r>
                <a:rPr lang="en-US" altLang="de-DE" dirty="0"/>
                <a:t>Acquisition</a:t>
              </a:r>
            </a:p>
          </p:txBody>
        </p:sp>
        <p:sp>
          <p:nvSpPr>
            <p:cNvPr id="267" name="Line 46"/>
            <p:cNvSpPr>
              <a:spLocks noChangeShapeType="1"/>
            </p:cNvSpPr>
            <p:nvPr/>
          </p:nvSpPr>
          <p:spPr bwMode="gray">
            <a:xfrm rot="-99059" flipH="1" flipV="1">
              <a:off x="1491" y="1363"/>
              <a:ext cx="865" cy="1637"/>
            </a:xfrm>
            <a:prstGeom prst="line">
              <a:avLst/>
            </a:prstGeom>
            <a:grpFill/>
            <a:ln w="3175" cap="sq">
              <a:solidFill>
                <a:schemeClr val="bg1">
                  <a:lumMod val="75000"/>
                </a:schemeClr>
              </a:solidFill>
              <a:prstDash val="solid"/>
              <a:round/>
              <a:headEnd type="triangle" w="med" len="med"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8" name="Freeform 51"/>
          <p:cNvSpPr>
            <a:spLocks/>
          </p:cNvSpPr>
          <p:nvPr/>
        </p:nvSpPr>
        <p:spPr bwMode="gray">
          <a:xfrm>
            <a:off x="5393015" y="4502739"/>
            <a:ext cx="1415938" cy="590746"/>
          </a:xfrm>
          <a:custGeom>
            <a:avLst/>
            <a:gdLst>
              <a:gd name="T0" fmla="*/ 0 w 412"/>
              <a:gd name="T1" fmla="*/ 0 h 172"/>
              <a:gd name="T2" fmla="*/ 92 w 412"/>
              <a:gd name="T3" fmla="*/ 158 h 172"/>
              <a:gd name="T4" fmla="*/ 93 w 412"/>
              <a:gd name="T5" fmla="*/ 159 h 172"/>
              <a:gd name="T6" fmla="*/ 94 w 412"/>
              <a:gd name="T7" fmla="*/ 160 h 172"/>
              <a:gd name="T8" fmla="*/ 95 w 412"/>
              <a:gd name="T9" fmla="*/ 160 h 172"/>
              <a:gd name="T10" fmla="*/ 96 w 412"/>
              <a:gd name="T11" fmla="*/ 161 h 172"/>
              <a:gd name="T12" fmla="*/ 98 w 412"/>
              <a:gd name="T13" fmla="*/ 162 h 172"/>
              <a:gd name="T14" fmla="*/ 100 w 412"/>
              <a:gd name="T15" fmla="*/ 162 h 172"/>
              <a:gd name="T16" fmla="*/ 102 w 412"/>
              <a:gd name="T17" fmla="*/ 163 h 172"/>
              <a:gd name="T18" fmla="*/ 104 w 412"/>
              <a:gd name="T19" fmla="*/ 164 h 172"/>
              <a:gd name="T20" fmla="*/ 107 w 412"/>
              <a:gd name="T21" fmla="*/ 164 h 172"/>
              <a:gd name="T22" fmla="*/ 109 w 412"/>
              <a:gd name="T23" fmla="*/ 165 h 172"/>
              <a:gd name="T24" fmla="*/ 129 w 412"/>
              <a:gd name="T25" fmla="*/ 168 h 172"/>
              <a:gd name="T26" fmla="*/ 133 w 412"/>
              <a:gd name="T27" fmla="*/ 168 h 172"/>
              <a:gd name="T28" fmla="*/ 137 w 412"/>
              <a:gd name="T29" fmla="*/ 169 h 172"/>
              <a:gd name="T30" fmla="*/ 142 w 412"/>
              <a:gd name="T31" fmla="*/ 169 h 172"/>
              <a:gd name="T32" fmla="*/ 146 w 412"/>
              <a:gd name="T33" fmla="*/ 169 h 172"/>
              <a:gd name="T34" fmla="*/ 151 w 412"/>
              <a:gd name="T35" fmla="*/ 170 h 172"/>
              <a:gd name="T36" fmla="*/ 156 w 412"/>
              <a:gd name="T37" fmla="*/ 170 h 172"/>
              <a:gd name="T38" fmla="*/ 161 w 412"/>
              <a:gd name="T39" fmla="*/ 170 h 172"/>
              <a:gd name="T40" fmla="*/ 166 w 412"/>
              <a:gd name="T41" fmla="*/ 171 h 172"/>
              <a:gd name="T42" fmla="*/ 171 w 412"/>
              <a:gd name="T43" fmla="*/ 171 h 172"/>
              <a:gd name="T44" fmla="*/ 176 w 412"/>
              <a:gd name="T45" fmla="*/ 171 h 172"/>
              <a:gd name="T46" fmla="*/ 181 w 412"/>
              <a:gd name="T47" fmla="*/ 171 h 172"/>
              <a:gd name="T48" fmla="*/ 187 w 412"/>
              <a:gd name="T49" fmla="*/ 171 h 172"/>
              <a:gd name="T50" fmla="*/ 193 w 412"/>
              <a:gd name="T51" fmla="*/ 172 h 172"/>
              <a:gd name="T52" fmla="*/ 199 w 412"/>
              <a:gd name="T53" fmla="*/ 172 h 172"/>
              <a:gd name="T54" fmla="*/ 206 w 412"/>
              <a:gd name="T55" fmla="*/ 172 h 172"/>
              <a:gd name="T56" fmla="*/ 214 w 412"/>
              <a:gd name="T57" fmla="*/ 172 h 172"/>
              <a:gd name="T58" fmla="*/ 220 w 412"/>
              <a:gd name="T59" fmla="*/ 172 h 172"/>
              <a:gd name="T60" fmla="*/ 226 w 412"/>
              <a:gd name="T61" fmla="*/ 171 h 172"/>
              <a:gd name="T62" fmla="*/ 231 w 412"/>
              <a:gd name="T63" fmla="*/ 171 h 172"/>
              <a:gd name="T64" fmla="*/ 237 w 412"/>
              <a:gd name="T65" fmla="*/ 171 h 172"/>
              <a:gd name="T66" fmla="*/ 242 w 412"/>
              <a:gd name="T67" fmla="*/ 171 h 172"/>
              <a:gd name="T68" fmla="*/ 247 w 412"/>
              <a:gd name="T69" fmla="*/ 171 h 172"/>
              <a:gd name="T70" fmla="*/ 252 w 412"/>
              <a:gd name="T71" fmla="*/ 170 h 172"/>
              <a:gd name="T72" fmla="*/ 257 w 412"/>
              <a:gd name="T73" fmla="*/ 170 h 172"/>
              <a:gd name="T74" fmla="*/ 262 w 412"/>
              <a:gd name="T75" fmla="*/ 170 h 172"/>
              <a:gd name="T76" fmla="*/ 266 w 412"/>
              <a:gd name="T77" fmla="*/ 170 h 172"/>
              <a:gd name="T78" fmla="*/ 271 w 412"/>
              <a:gd name="T79" fmla="*/ 169 h 172"/>
              <a:gd name="T80" fmla="*/ 282 w 412"/>
              <a:gd name="T81" fmla="*/ 168 h 172"/>
              <a:gd name="T82" fmla="*/ 286 w 412"/>
              <a:gd name="T83" fmla="*/ 168 h 172"/>
              <a:gd name="T84" fmla="*/ 290 w 412"/>
              <a:gd name="T85" fmla="*/ 167 h 172"/>
              <a:gd name="T86" fmla="*/ 293 w 412"/>
              <a:gd name="T87" fmla="*/ 167 h 172"/>
              <a:gd name="T88" fmla="*/ 296 w 412"/>
              <a:gd name="T89" fmla="*/ 166 h 172"/>
              <a:gd name="T90" fmla="*/ 299 w 412"/>
              <a:gd name="T91" fmla="*/ 166 h 172"/>
              <a:gd name="T92" fmla="*/ 302 w 412"/>
              <a:gd name="T93" fmla="*/ 165 h 172"/>
              <a:gd name="T94" fmla="*/ 305 w 412"/>
              <a:gd name="T95" fmla="*/ 164 h 172"/>
              <a:gd name="T96" fmla="*/ 308 w 412"/>
              <a:gd name="T97" fmla="*/ 164 h 172"/>
              <a:gd name="T98" fmla="*/ 320 w 412"/>
              <a:gd name="T99" fmla="*/ 159 h 172"/>
              <a:gd name="T100" fmla="*/ 320 w 412"/>
              <a:gd name="T101" fmla="*/ 158 h 172"/>
              <a:gd name="T102" fmla="*/ 321 w 412"/>
              <a:gd name="T103" fmla="*/ 157 h 172"/>
              <a:gd name="T104" fmla="*/ 206 w 412"/>
              <a:gd name="T105" fmla="*/ 22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12" h="172">
                <a:moveTo>
                  <a:pt x="206" y="22"/>
                </a:moveTo>
                <a:cubicBezTo>
                  <a:pt x="101" y="22"/>
                  <a:pt x="14" y="12"/>
                  <a:pt x="0" y="0"/>
                </a:cubicBezTo>
                <a:cubicBezTo>
                  <a:pt x="92" y="158"/>
                  <a:pt x="92" y="158"/>
                  <a:pt x="92" y="158"/>
                </a:cubicBezTo>
                <a:cubicBezTo>
                  <a:pt x="92" y="158"/>
                  <a:pt x="92" y="158"/>
                  <a:pt x="92" y="158"/>
                </a:cubicBezTo>
                <a:cubicBezTo>
                  <a:pt x="93" y="158"/>
                  <a:pt x="93" y="159"/>
                  <a:pt x="93" y="159"/>
                </a:cubicBezTo>
                <a:cubicBezTo>
                  <a:pt x="93" y="159"/>
                  <a:pt x="93" y="159"/>
                  <a:pt x="93" y="159"/>
                </a:cubicBezTo>
                <a:cubicBezTo>
                  <a:pt x="93" y="159"/>
                  <a:pt x="94" y="159"/>
                  <a:pt x="94" y="160"/>
                </a:cubicBezTo>
                <a:cubicBezTo>
                  <a:pt x="94" y="160"/>
                  <a:pt x="94" y="160"/>
                  <a:pt x="94" y="160"/>
                </a:cubicBezTo>
                <a:cubicBezTo>
                  <a:pt x="94" y="160"/>
                  <a:pt x="95" y="160"/>
                  <a:pt x="95" y="160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5" y="161"/>
                  <a:pt x="96" y="161"/>
                  <a:pt x="96" y="161"/>
                </a:cubicBezTo>
                <a:cubicBezTo>
                  <a:pt x="96" y="161"/>
                  <a:pt x="96" y="161"/>
                  <a:pt x="96" y="161"/>
                </a:cubicBezTo>
                <a:cubicBezTo>
                  <a:pt x="97" y="161"/>
                  <a:pt x="97" y="161"/>
                  <a:pt x="98" y="162"/>
                </a:cubicBezTo>
                <a:cubicBezTo>
                  <a:pt x="98" y="162"/>
                  <a:pt x="98" y="162"/>
                  <a:pt x="98" y="162"/>
                </a:cubicBezTo>
                <a:cubicBezTo>
                  <a:pt x="99" y="162"/>
                  <a:pt x="99" y="162"/>
                  <a:pt x="100" y="162"/>
                </a:cubicBezTo>
                <a:cubicBezTo>
                  <a:pt x="100" y="162"/>
                  <a:pt x="100" y="162"/>
                  <a:pt x="100" y="162"/>
                </a:cubicBezTo>
                <a:cubicBezTo>
                  <a:pt x="101" y="162"/>
                  <a:pt x="101" y="163"/>
                  <a:pt x="102" y="163"/>
                </a:cubicBezTo>
                <a:cubicBezTo>
                  <a:pt x="102" y="163"/>
                  <a:pt x="102" y="163"/>
                  <a:pt x="102" y="163"/>
                </a:cubicBezTo>
                <a:cubicBezTo>
                  <a:pt x="103" y="163"/>
                  <a:pt x="103" y="163"/>
                  <a:pt x="104" y="163"/>
                </a:cubicBezTo>
                <a:cubicBezTo>
                  <a:pt x="104" y="163"/>
                  <a:pt x="104" y="164"/>
                  <a:pt x="104" y="164"/>
                </a:cubicBezTo>
                <a:cubicBezTo>
                  <a:pt x="105" y="164"/>
                  <a:pt x="106" y="164"/>
                  <a:pt x="106" y="164"/>
                </a:cubicBezTo>
                <a:cubicBezTo>
                  <a:pt x="107" y="164"/>
                  <a:pt x="107" y="164"/>
                  <a:pt x="107" y="164"/>
                </a:cubicBezTo>
                <a:cubicBezTo>
                  <a:pt x="107" y="164"/>
                  <a:pt x="108" y="164"/>
                  <a:pt x="109" y="165"/>
                </a:cubicBezTo>
                <a:cubicBezTo>
                  <a:pt x="109" y="165"/>
                  <a:pt x="109" y="165"/>
                  <a:pt x="109" y="165"/>
                </a:cubicBezTo>
                <a:cubicBezTo>
                  <a:pt x="115" y="166"/>
                  <a:pt x="121" y="167"/>
                  <a:pt x="129" y="168"/>
                </a:cubicBezTo>
                <a:cubicBezTo>
                  <a:pt x="129" y="168"/>
                  <a:pt x="129" y="168"/>
                  <a:pt x="129" y="168"/>
                </a:cubicBezTo>
                <a:cubicBezTo>
                  <a:pt x="130" y="168"/>
                  <a:pt x="131" y="168"/>
                  <a:pt x="132" y="168"/>
                </a:cubicBezTo>
                <a:cubicBezTo>
                  <a:pt x="132" y="168"/>
                  <a:pt x="133" y="168"/>
                  <a:pt x="133" y="168"/>
                </a:cubicBezTo>
                <a:cubicBezTo>
                  <a:pt x="134" y="168"/>
                  <a:pt x="135" y="168"/>
                  <a:pt x="136" y="169"/>
                </a:cubicBezTo>
                <a:cubicBezTo>
                  <a:pt x="136" y="169"/>
                  <a:pt x="137" y="169"/>
                  <a:pt x="137" y="169"/>
                </a:cubicBezTo>
                <a:cubicBezTo>
                  <a:pt x="138" y="169"/>
                  <a:pt x="139" y="169"/>
                  <a:pt x="140" y="169"/>
                </a:cubicBezTo>
                <a:cubicBezTo>
                  <a:pt x="140" y="169"/>
                  <a:pt x="141" y="169"/>
                  <a:pt x="142" y="169"/>
                </a:cubicBezTo>
                <a:cubicBezTo>
                  <a:pt x="142" y="169"/>
                  <a:pt x="143" y="169"/>
                  <a:pt x="144" y="169"/>
                </a:cubicBezTo>
                <a:cubicBezTo>
                  <a:pt x="145" y="169"/>
                  <a:pt x="145" y="169"/>
                  <a:pt x="146" y="169"/>
                </a:cubicBezTo>
                <a:cubicBezTo>
                  <a:pt x="147" y="170"/>
                  <a:pt x="148" y="170"/>
                  <a:pt x="149" y="170"/>
                </a:cubicBezTo>
                <a:cubicBezTo>
                  <a:pt x="149" y="170"/>
                  <a:pt x="150" y="170"/>
                  <a:pt x="151" y="170"/>
                </a:cubicBezTo>
                <a:cubicBezTo>
                  <a:pt x="152" y="170"/>
                  <a:pt x="152" y="170"/>
                  <a:pt x="153" y="170"/>
                </a:cubicBezTo>
                <a:cubicBezTo>
                  <a:pt x="154" y="170"/>
                  <a:pt x="155" y="170"/>
                  <a:pt x="156" y="170"/>
                </a:cubicBezTo>
                <a:cubicBezTo>
                  <a:pt x="156" y="170"/>
                  <a:pt x="157" y="170"/>
                  <a:pt x="158" y="170"/>
                </a:cubicBezTo>
                <a:cubicBezTo>
                  <a:pt x="159" y="170"/>
                  <a:pt x="160" y="170"/>
                  <a:pt x="161" y="170"/>
                </a:cubicBezTo>
                <a:cubicBezTo>
                  <a:pt x="161" y="170"/>
                  <a:pt x="162" y="171"/>
                  <a:pt x="163" y="171"/>
                </a:cubicBezTo>
                <a:cubicBezTo>
                  <a:pt x="164" y="171"/>
                  <a:pt x="165" y="171"/>
                  <a:pt x="166" y="171"/>
                </a:cubicBezTo>
                <a:cubicBezTo>
                  <a:pt x="166" y="171"/>
                  <a:pt x="167" y="171"/>
                  <a:pt x="168" y="171"/>
                </a:cubicBezTo>
                <a:cubicBezTo>
                  <a:pt x="169" y="171"/>
                  <a:pt x="170" y="171"/>
                  <a:pt x="171" y="171"/>
                </a:cubicBezTo>
                <a:cubicBezTo>
                  <a:pt x="172" y="171"/>
                  <a:pt x="172" y="171"/>
                  <a:pt x="173" y="171"/>
                </a:cubicBezTo>
                <a:cubicBezTo>
                  <a:pt x="174" y="171"/>
                  <a:pt x="175" y="171"/>
                  <a:pt x="176" y="171"/>
                </a:cubicBezTo>
                <a:cubicBezTo>
                  <a:pt x="177" y="171"/>
                  <a:pt x="178" y="171"/>
                  <a:pt x="179" y="171"/>
                </a:cubicBezTo>
                <a:cubicBezTo>
                  <a:pt x="180" y="171"/>
                  <a:pt x="181" y="171"/>
                  <a:pt x="181" y="171"/>
                </a:cubicBezTo>
                <a:cubicBezTo>
                  <a:pt x="182" y="171"/>
                  <a:pt x="183" y="171"/>
                  <a:pt x="184" y="171"/>
                </a:cubicBezTo>
                <a:cubicBezTo>
                  <a:pt x="185" y="171"/>
                  <a:pt x="186" y="171"/>
                  <a:pt x="187" y="171"/>
                </a:cubicBezTo>
                <a:cubicBezTo>
                  <a:pt x="188" y="171"/>
                  <a:pt x="189" y="172"/>
                  <a:pt x="189" y="172"/>
                </a:cubicBezTo>
                <a:cubicBezTo>
                  <a:pt x="191" y="172"/>
                  <a:pt x="192" y="172"/>
                  <a:pt x="193" y="172"/>
                </a:cubicBezTo>
                <a:cubicBezTo>
                  <a:pt x="194" y="172"/>
                  <a:pt x="194" y="172"/>
                  <a:pt x="195" y="172"/>
                </a:cubicBezTo>
                <a:cubicBezTo>
                  <a:pt x="196" y="172"/>
                  <a:pt x="198" y="172"/>
                  <a:pt x="199" y="172"/>
                </a:cubicBezTo>
                <a:cubicBezTo>
                  <a:pt x="199" y="172"/>
                  <a:pt x="200" y="172"/>
                  <a:pt x="201" y="172"/>
                </a:cubicBezTo>
                <a:cubicBezTo>
                  <a:pt x="203" y="172"/>
                  <a:pt x="205" y="172"/>
                  <a:pt x="206" y="172"/>
                </a:cubicBezTo>
                <a:cubicBezTo>
                  <a:pt x="208" y="172"/>
                  <a:pt x="210" y="172"/>
                  <a:pt x="212" y="172"/>
                </a:cubicBezTo>
                <a:cubicBezTo>
                  <a:pt x="213" y="172"/>
                  <a:pt x="213" y="172"/>
                  <a:pt x="214" y="172"/>
                </a:cubicBezTo>
                <a:cubicBezTo>
                  <a:pt x="215" y="172"/>
                  <a:pt x="216" y="172"/>
                  <a:pt x="218" y="172"/>
                </a:cubicBezTo>
                <a:cubicBezTo>
                  <a:pt x="219" y="172"/>
                  <a:pt x="219" y="172"/>
                  <a:pt x="220" y="172"/>
                </a:cubicBezTo>
                <a:cubicBezTo>
                  <a:pt x="221" y="172"/>
                  <a:pt x="222" y="172"/>
                  <a:pt x="223" y="172"/>
                </a:cubicBezTo>
                <a:cubicBezTo>
                  <a:pt x="224" y="172"/>
                  <a:pt x="225" y="171"/>
                  <a:pt x="226" y="171"/>
                </a:cubicBezTo>
                <a:cubicBezTo>
                  <a:pt x="227" y="171"/>
                  <a:pt x="228" y="171"/>
                  <a:pt x="229" y="171"/>
                </a:cubicBezTo>
                <a:cubicBezTo>
                  <a:pt x="230" y="171"/>
                  <a:pt x="230" y="171"/>
                  <a:pt x="231" y="171"/>
                </a:cubicBezTo>
                <a:cubicBezTo>
                  <a:pt x="232" y="171"/>
                  <a:pt x="233" y="171"/>
                  <a:pt x="234" y="171"/>
                </a:cubicBezTo>
                <a:cubicBezTo>
                  <a:pt x="235" y="171"/>
                  <a:pt x="236" y="171"/>
                  <a:pt x="237" y="171"/>
                </a:cubicBezTo>
                <a:cubicBezTo>
                  <a:pt x="237" y="171"/>
                  <a:pt x="238" y="171"/>
                  <a:pt x="239" y="171"/>
                </a:cubicBezTo>
                <a:cubicBezTo>
                  <a:pt x="240" y="171"/>
                  <a:pt x="241" y="171"/>
                  <a:pt x="242" y="171"/>
                </a:cubicBezTo>
                <a:cubicBezTo>
                  <a:pt x="243" y="171"/>
                  <a:pt x="244" y="171"/>
                  <a:pt x="245" y="171"/>
                </a:cubicBezTo>
                <a:cubicBezTo>
                  <a:pt x="245" y="171"/>
                  <a:pt x="246" y="171"/>
                  <a:pt x="247" y="171"/>
                </a:cubicBezTo>
                <a:cubicBezTo>
                  <a:pt x="248" y="171"/>
                  <a:pt x="249" y="171"/>
                  <a:pt x="250" y="171"/>
                </a:cubicBezTo>
                <a:cubicBezTo>
                  <a:pt x="250" y="171"/>
                  <a:pt x="251" y="171"/>
                  <a:pt x="252" y="170"/>
                </a:cubicBezTo>
                <a:cubicBezTo>
                  <a:pt x="253" y="170"/>
                  <a:pt x="254" y="170"/>
                  <a:pt x="254" y="170"/>
                </a:cubicBezTo>
                <a:cubicBezTo>
                  <a:pt x="255" y="170"/>
                  <a:pt x="256" y="170"/>
                  <a:pt x="257" y="170"/>
                </a:cubicBezTo>
                <a:cubicBezTo>
                  <a:pt x="258" y="170"/>
                  <a:pt x="258" y="170"/>
                  <a:pt x="259" y="170"/>
                </a:cubicBezTo>
                <a:cubicBezTo>
                  <a:pt x="260" y="170"/>
                  <a:pt x="261" y="170"/>
                  <a:pt x="262" y="170"/>
                </a:cubicBezTo>
                <a:cubicBezTo>
                  <a:pt x="262" y="170"/>
                  <a:pt x="263" y="170"/>
                  <a:pt x="264" y="170"/>
                </a:cubicBezTo>
                <a:cubicBezTo>
                  <a:pt x="265" y="170"/>
                  <a:pt x="265" y="170"/>
                  <a:pt x="266" y="170"/>
                </a:cubicBezTo>
                <a:cubicBezTo>
                  <a:pt x="267" y="169"/>
                  <a:pt x="267" y="169"/>
                  <a:pt x="268" y="169"/>
                </a:cubicBezTo>
                <a:cubicBezTo>
                  <a:pt x="269" y="169"/>
                  <a:pt x="270" y="169"/>
                  <a:pt x="271" y="169"/>
                </a:cubicBezTo>
                <a:cubicBezTo>
                  <a:pt x="271" y="169"/>
                  <a:pt x="271" y="169"/>
                  <a:pt x="271" y="169"/>
                </a:cubicBezTo>
                <a:cubicBezTo>
                  <a:pt x="275" y="169"/>
                  <a:pt x="279" y="168"/>
                  <a:pt x="282" y="168"/>
                </a:cubicBezTo>
                <a:cubicBezTo>
                  <a:pt x="283" y="168"/>
                  <a:pt x="283" y="168"/>
                  <a:pt x="283" y="168"/>
                </a:cubicBezTo>
                <a:cubicBezTo>
                  <a:pt x="284" y="168"/>
                  <a:pt x="285" y="168"/>
                  <a:pt x="286" y="168"/>
                </a:cubicBezTo>
                <a:cubicBezTo>
                  <a:pt x="286" y="167"/>
                  <a:pt x="286" y="167"/>
                  <a:pt x="287" y="167"/>
                </a:cubicBezTo>
                <a:cubicBezTo>
                  <a:pt x="288" y="167"/>
                  <a:pt x="289" y="167"/>
                  <a:pt x="290" y="167"/>
                </a:cubicBezTo>
                <a:cubicBezTo>
                  <a:pt x="290" y="167"/>
                  <a:pt x="290" y="167"/>
                  <a:pt x="290" y="167"/>
                </a:cubicBezTo>
                <a:cubicBezTo>
                  <a:pt x="291" y="167"/>
                  <a:pt x="292" y="167"/>
                  <a:pt x="293" y="167"/>
                </a:cubicBezTo>
                <a:cubicBezTo>
                  <a:pt x="293" y="167"/>
                  <a:pt x="294" y="166"/>
                  <a:pt x="294" y="166"/>
                </a:cubicBezTo>
                <a:cubicBezTo>
                  <a:pt x="295" y="166"/>
                  <a:pt x="295" y="166"/>
                  <a:pt x="296" y="166"/>
                </a:cubicBezTo>
                <a:cubicBezTo>
                  <a:pt x="297" y="166"/>
                  <a:pt x="297" y="166"/>
                  <a:pt x="297" y="166"/>
                </a:cubicBezTo>
                <a:cubicBezTo>
                  <a:pt x="298" y="166"/>
                  <a:pt x="299" y="166"/>
                  <a:pt x="299" y="166"/>
                </a:cubicBezTo>
                <a:cubicBezTo>
                  <a:pt x="300" y="165"/>
                  <a:pt x="300" y="165"/>
                  <a:pt x="300" y="165"/>
                </a:cubicBezTo>
                <a:cubicBezTo>
                  <a:pt x="301" y="165"/>
                  <a:pt x="302" y="165"/>
                  <a:pt x="302" y="165"/>
                </a:cubicBezTo>
                <a:cubicBezTo>
                  <a:pt x="303" y="165"/>
                  <a:pt x="303" y="165"/>
                  <a:pt x="303" y="165"/>
                </a:cubicBezTo>
                <a:cubicBezTo>
                  <a:pt x="304" y="165"/>
                  <a:pt x="305" y="165"/>
                  <a:pt x="305" y="164"/>
                </a:cubicBezTo>
                <a:cubicBezTo>
                  <a:pt x="305" y="164"/>
                  <a:pt x="306" y="164"/>
                  <a:pt x="306" y="164"/>
                </a:cubicBezTo>
                <a:cubicBezTo>
                  <a:pt x="306" y="164"/>
                  <a:pt x="307" y="164"/>
                  <a:pt x="308" y="164"/>
                </a:cubicBezTo>
                <a:cubicBezTo>
                  <a:pt x="308" y="164"/>
                  <a:pt x="308" y="164"/>
                  <a:pt x="308" y="164"/>
                </a:cubicBezTo>
                <a:cubicBezTo>
                  <a:pt x="314" y="162"/>
                  <a:pt x="319" y="160"/>
                  <a:pt x="320" y="159"/>
                </a:cubicBezTo>
                <a:cubicBezTo>
                  <a:pt x="320" y="158"/>
                  <a:pt x="320" y="158"/>
                  <a:pt x="320" y="158"/>
                </a:cubicBezTo>
                <a:cubicBezTo>
                  <a:pt x="320" y="158"/>
                  <a:pt x="320" y="158"/>
                  <a:pt x="320" y="158"/>
                </a:cubicBezTo>
                <a:cubicBezTo>
                  <a:pt x="321" y="157"/>
                  <a:pt x="321" y="157"/>
                  <a:pt x="321" y="157"/>
                </a:cubicBezTo>
                <a:cubicBezTo>
                  <a:pt x="321" y="157"/>
                  <a:pt x="321" y="157"/>
                  <a:pt x="321" y="157"/>
                </a:cubicBezTo>
                <a:cubicBezTo>
                  <a:pt x="412" y="0"/>
                  <a:pt x="412" y="0"/>
                  <a:pt x="412" y="0"/>
                </a:cubicBezTo>
                <a:cubicBezTo>
                  <a:pt x="397" y="12"/>
                  <a:pt x="311" y="22"/>
                  <a:pt x="206" y="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/>
        </p:spPr>
        <p:txBody>
          <a:bodyPr lIns="91422" tIns="45718" rIns="91422" bIns="45718"/>
          <a:lstStyle/>
          <a:p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9" name="Freeform 54"/>
          <p:cNvSpPr>
            <a:spLocks/>
          </p:cNvSpPr>
          <p:nvPr/>
        </p:nvSpPr>
        <p:spPr bwMode="gray">
          <a:xfrm>
            <a:off x="5079148" y="3958828"/>
            <a:ext cx="2043688" cy="622575"/>
          </a:xfrm>
          <a:custGeom>
            <a:avLst/>
            <a:gdLst>
              <a:gd name="T0" fmla="*/ 297 w 594"/>
              <a:gd name="T1" fmla="*/ 33 h 181"/>
              <a:gd name="T2" fmla="*/ 0 w 594"/>
              <a:gd name="T3" fmla="*/ 0 h 181"/>
              <a:gd name="T4" fmla="*/ 89 w 594"/>
              <a:gd name="T5" fmla="*/ 155 h 181"/>
              <a:gd name="T6" fmla="*/ 91 w 594"/>
              <a:gd name="T7" fmla="*/ 159 h 181"/>
              <a:gd name="T8" fmla="*/ 297 w 594"/>
              <a:gd name="T9" fmla="*/ 181 h 181"/>
              <a:gd name="T10" fmla="*/ 503 w 594"/>
              <a:gd name="T11" fmla="*/ 159 h 181"/>
              <a:gd name="T12" fmla="*/ 505 w 594"/>
              <a:gd name="T13" fmla="*/ 155 h 181"/>
              <a:gd name="T14" fmla="*/ 594 w 594"/>
              <a:gd name="T15" fmla="*/ 0 h 181"/>
              <a:gd name="T16" fmla="*/ 297 w 594"/>
              <a:gd name="T17" fmla="*/ 33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94" h="181">
                <a:moveTo>
                  <a:pt x="297" y="33"/>
                </a:moveTo>
                <a:cubicBezTo>
                  <a:pt x="146" y="33"/>
                  <a:pt x="21" y="18"/>
                  <a:pt x="0" y="0"/>
                </a:cubicBezTo>
                <a:cubicBezTo>
                  <a:pt x="89" y="155"/>
                  <a:pt x="89" y="155"/>
                  <a:pt x="89" y="155"/>
                </a:cubicBezTo>
                <a:cubicBezTo>
                  <a:pt x="91" y="159"/>
                  <a:pt x="91" y="159"/>
                  <a:pt x="91" y="159"/>
                </a:cubicBezTo>
                <a:cubicBezTo>
                  <a:pt x="105" y="171"/>
                  <a:pt x="192" y="181"/>
                  <a:pt x="297" y="181"/>
                </a:cubicBezTo>
                <a:cubicBezTo>
                  <a:pt x="402" y="181"/>
                  <a:pt x="488" y="171"/>
                  <a:pt x="503" y="159"/>
                </a:cubicBezTo>
                <a:cubicBezTo>
                  <a:pt x="505" y="155"/>
                  <a:pt x="505" y="155"/>
                  <a:pt x="505" y="155"/>
                </a:cubicBezTo>
                <a:cubicBezTo>
                  <a:pt x="594" y="0"/>
                  <a:pt x="594" y="0"/>
                  <a:pt x="594" y="0"/>
                </a:cubicBezTo>
                <a:cubicBezTo>
                  <a:pt x="573" y="18"/>
                  <a:pt x="448" y="33"/>
                  <a:pt x="297" y="33"/>
                </a:cubicBezTo>
                <a:close/>
              </a:path>
            </a:pathLst>
          </a:custGeom>
          <a:solidFill>
            <a:schemeClr val="accent1">
              <a:lumMod val="90000"/>
              <a:lumOff val="10000"/>
            </a:schemeClr>
          </a:solidFill>
          <a:ln>
            <a:noFill/>
          </a:ln>
          <a:scene3d>
            <a:camera prst="orthographicFront"/>
            <a:lightRig rig="threePt" dir="t"/>
          </a:scene3d>
          <a:sp3d/>
        </p:spPr>
        <p:txBody>
          <a:bodyPr lIns="91422" tIns="45718" rIns="91422" bIns="45718"/>
          <a:lstStyle/>
          <a:p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0" name="Freeform 53"/>
          <p:cNvSpPr>
            <a:spLocks/>
          </p:cNvSpPr>
          <p:nvPr/>
        </p:nvSpPr>
        <p:spPr bwMode="gray">
          <a:xfrm>
            <a:off x="4763997" y="3407028"/>
            <a:ext cx="2675256" cy="663317"/>
          </a:xfrm>
          <a:custGeom>
            <a:avLst/>
            <a:gdLst>
              <a:gd name="T0" fmla="*/ 389 w 778"/>
              <a:gd name="T1" fmla="*/ 43 h 193"/>
              <a:gd name="T2" fmla="*/ 0 w 778"/>
              <a:gd name="T3" fmla="*/ 0 h 193"/>
              <a:gd name="T4" fmla="*/ 88 w 778"/>
              <a:gd name="T5" fmla="*/ 154 h 193"/>
              <a:gd name="T6" fmla="*/ 88 w 778"/>
              <a:gd name="T7" fmla="*/ 154 h 193"/>
              <a:gd name="T8" fmla="*/ 90 w 778"/>
              <a:gd name="T9" fmla="*/ 157 h 193"/>
              <a:gd name="T10" fmla="*/ 91 w 778"/>
              <a:gd name="T11" fmla="*/ 160 h 193"/>
              <a:gd name="T12" fmla="*/ 92 w 778"/>
              <a:gd name="T13" fmla="*/ 160 h 193"/>
              <a:gd name="T14" fmla="*/ 389 w 778"/>
              <a:gd name="T15" fmla="*/ 193 h 193"/>
              <a:gd name="T16" fmla="*/ 686 w 778"/>
              <a:gd name="T17" fmla="*/ 160 h 193"/>
              <a:gd name="T18" fmla="*/ 686 w 778"/>
              <a:gd name="T19" fmla="*/ 160 h 193"/>
              <a:gd name="T20" fmla="*/ 688 w 778"/>
              <a:gd name="T21" fmla="*/ 157 h 193"/>
              <a:gd name="T22" fmla="*/ 689 w 778"/>
              <a:gd name="T23" fmla="*/ 154 h 193"/>
              <a:gd name="T24" fmla="*/ 689 w 778"/>
              <a:gd name="T25" fmla="*/ 154 h 193"/>
              <a:gd name="T26" fmla="*/ 778 w 778"/>
              <a:gd name="T27" fmla="*/ 0 h 193"/>
              <a:gd name="T28" fmla="*/ 389 w 778"/>
              <a:gd name="T29" fmla="*/ 43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78" h="193">
                <a:moveTo>
                  <a:pt x="389" y="43"/>
                </a:moveTo>
                <a:cubicBezTo>
                  <a:pt x="191" y="43"/>
                  <a:pt x="28" y="25"/>
                  <a:pt x="0" y="0"/>
                </a:cubicBezTo>
                <a:cubicBezTo>
                  <a:pt x="88" y="154"/>
                  <a:pt x="88" y="154"/>
                  <a:pt x="88" y="154"/>
                </a:cubicBezTo>
                <a:cubicBezTo>
                  <a:pt x="88" y="154"/>
                  <a:pt x="88" y="154"/>
                  <a:pt x="88" y="154"/>
                </a:cubicBezTo>
                <a:cubicBezTo>
                  <a:pt x="90" y="157"/>
                  <a:pt x="90" y="157"/>
                  <a:pt x="90" y="157"/>
                </a:cubicBezTo>
                <a:cubicBezTo>
                  <a:pt x="91" y="160"/>
                  <a:pt x="91" y="160"/>
                  <a:pt x="91" y="160"/>
                </a:cubicBezTo>
                <a:cubicBezTo>
                  <a:pt x="92" y="160"/>
                  <a:pt x="92" y="160"/>
                  <a:pt x="92" y="160"/>
                </a:cubicBezTo>
                <a:cubicBezTo>
                  <a:pt x="113" y="178"/>
                  <a:pt x="238" y="193"/>
                  <a:pt x="389" y="193"/>
                </a:cubicBezTo>
                <a:cubicBezTo>
                  <a:pt x="540" y="193"/>
                  <a:pt x="665" y="178"/>
                  <a:pt x="686" y="160"/>
                </a:cubicBezTo>
                <a:cubicBezTo>
                  <a:pt x="686" y="160"/>
                  <a:pt x="686" y="160"/>
                  <a:pt x="686" y="160"/>
                </a:cubicBezTo>
                <a:cubicBezTo>
                  <a:pt x="688" y="157"/>
                  <a:pt x="688" y="157"/>
                  <a:pt x="688" y="157"/>
                </a:cubicBezTo>
                <a:cubicBezTo>
                  <a:pt x="689" y="154"/>
                  <a:pt x="689" y="154"/>
                  <a:pt x="689" y="154"/>
                </a:cubicBezTo>
                <a:cubicBezTo>
                  <a:pt x="689" y="154"/>
                  <a:pt x="689" y="154"/>
                  <a:pt x="689" y="154"/>
                </a:cubicBezTo>
                <a:cubicBezTo>
                  <a:pt x="778" y="0"/>
                  <a:pt x="778" y="0"/>
                  <a:pt x="778" y="0"/>
                </a:cubicBezTo>
                <a:cubicBezTo>
                  <a:pt x="750" y="25"/>
                  <a:pt x="586" y="43"/>
                  <a:pt x="389" y="4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91422" tIns="45718" rIns="91422" bIns="45718"/>
          <a:lstStyle/>
          <a:p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1" name="Gerade Verbindung 23"/>
          <p:cNvCxnSpPr/>
          <p:nvPr/>
        </p:nvCxnSpPr>
        <p:spPr bwMode="gray">
          <a:xfrm>
            <a:off x="7569780" y="3388465"/>
            <a:ext cx="2923682" cy="0"/>
          </a:xfrm>
          <a:prstGeom prst="line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</p:cxnSp>
      <p:cxnSp>
        <p:nvCxnSpPr>
          <p:cNvPr id="272" name="Gerade Verbindung 23"/>
          <p:cNvCxnSpPr/>
          <p:nvPr/>
        </p:nvCxnSpPr>
        <p:spPr bwMode="gray">
          <a:xfrm>
            <a:off x="7260939" y="3936603"/>
            <a:ext cx="3232523" cy="0"/>
          </a:xfrm>
          <a:prstGeom prst="line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</p:cxnSp>
      <p:cxnSp>
        <p:nvCxnSpPr>
          <p:cNvPr id="273" name="Gerade Verbindung 17"/>
          <p:cNvCxnSpPr/>
          <p:nvPr/>
        </p:nvCxnSpPr>
        <p:spPr bwMode="gray">
          <a:xfrm>
            <a:off x="6596469" y="5063587"/>
            <a:ext cx="3899466" cy="0"/>
          </a:xfrm>
          <a:prstGeom prst="line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</p:cxnSp>
      <p:sp>
        <p:nvSpPr>
          <p:cNvPr id="275" name="Textplatzhalter 3"/>
          <p:cNvSpPr txBox="1">
            <a:spLocks/>
          </p:cNvSpPr>
          <p:nvPr/>
        </p:nvSpPr>
        <p:spPr bwMode="gray">
          <a:xfrm>
            <a:off x="9253733" y="3388466"/>
            <a:ext cx="1242202" cy="548138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2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</a:p>
          <a:p>
            <a:pPr marL="285750" lvl="2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</a:p>
        </p:txBody>
      </p:sp>
      <p:cxnSp>
        <p:nvCxnSpPr>
          <p:cNvPr id="276" name="Gerade Verbindung 23"/>
          <p:cNvCxnSpPr/>
          <p:nvPr/>
        </p:nvCxnSpPr>
        <p:spPr bwMode="gray">
          <a:xfrm>
            <a:off x="6941883" y="4502739"/>
            <a:ext cx="3551578" cy="0"/>
          </a:xfrm>
          <a:prstGeom prst="line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</p:cxnSp>
      <p:sp>
        <p:nvSpPr>
          <p:cNvPr id="277" name="Textplatzhalter 3"/>
          <p:cNvSpPr txBox="1">
            <a:spLocks/>
          </p:cNvSpPr>
          <p:nvPr/>
        </p:nvSpPr>
        <p:spPr bwMode="gray">
          <a:xfrm>
            <a:off x="9253733" y="3941234"/>
            <a:ext cx="1242202" cy="548138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2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</a:p>
          <a:p>
            <a:pPr marL="285750" lvl="2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</a:p>
        </p:txBody>
      </p:sp>
      <p:sp>
        <p:nvSpPr>
          <p:cNvPr id="278" name="Textplatzhalter 3"/>
          <p:cNvSpPr txBox="1">
            <a:spLocks/>
          </p:cNvSpPr>
          <p:nvPr/>
        </p:nvSpPr>
        <p:spPr bwMode="gray">
          <a:xfrm>
            <a:off x="9253733" y="4515449"/>
            <a:ext cx="1242202" cy="548138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2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</a:p>
          <a:p>
            <a:pPr marL="285750" lvl="2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</a:p>
        </p:txBody>
      </p:sp>
      <p:sp>
        <p:nvSpPr>
          <p:cNvPr id="279" name="Textplatzhalter 3"/>
          <p:cNvSpPr txBox="1">
            <a:spLocks/>
          </p:cNvSpPr>
          <p:nvPr/>
        </p:nvSpPr>
        <p:spPr bwMode="gray">
          <a:xfrm>
            <a:off x="9253733" y="2840328"/>
            <a:ext cx="1242202" cy="548138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2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</a:p>
          <a:p>
            <a:pPr marL="285750" lvl="2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</a:p>
        </p:txBody>
      </p:sp>
      <p:sp>
        <p:nvSpPr>
          <p:cNvPr id="280" name="Textplatzhalter 3"/>
          <p:cNvSpPr txBox="1">
            <a:spLocks/>
          </p:cNvSpPr>
          <p:nvPr/>
        </p:nvSpPr>
        <p:spPr bwMode="gray">
          <a:xfrm>
            <a:off x="9251259" y="5063587"/>
            <a:ext cx="1242202" cy="548138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2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</a:p>
          <a:p>
            <a:pPr marL="285750" lvl="2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</a:p>
        </p:txBody>
      </p:sp>
      <p:sp>
        <p:nvSpPr>
          <p:cNvPr id="281" name="Ellipse 30"/>
          <p:cNvSpPr/>
          <p:nvPr/>
        </p:nvSpPr>
        <p:spPr bwMode="gray">
          <a:xfrm>
            <a:off x="4858211" y="2348471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82" name="Ellipse 30"/>
          <p:cNvSpPr/>
          <p:nvPr/>
        </p:nvSpPr>
        <p:spPr bwMode="gray">
          <a:xfrm>
            <a:off x="5324641" y="1897521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83" name="Ellipse 30"/>
          <p:cNvSpPr/>
          <p:nvPr/>
        </p:nvSpPr>
        <p:spPr bwMode="gray">
          <a:xfrm>
            <a:off x="6017057" y="2215035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84" name="Ellipse 30"/>
          <p:cNvSpPr/>
          <p:nvPr/>
        </p:nvSpPr>
        <p:spPr bwMode="gray">
          <a:xfrm>
            <a:off x="7079512" y="2208567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85" name="Ellipse 30"/>
          <p:cNvSpPr/>
          <p:nvPr/>
        </p:nvSpPr>
        <p:spPr bwMode="gray">
          <a:xfrm>
            <a:off x="6553145" y="1892897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86" name="Ellipse 30"/>
          <p:cNvSpPr/>
          <p:nvPr/>
        </p:nvSpPr>
        <p:spPr bwMode="gray">
          <a:xfrm>
            <a:off x="4876353" y="1513579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87" name="Ellipse 30"/>
          <p:cNvSpPr/>
          <p:nvPr/>
        </p:nvSpPr>
        <p:spPr bwMode="gray">
          <a:xfrm>
            <a:off x="5403540" y="1202533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88" name="Ellipse 30"/>
          <p:cNvSpPr/>
          <p:nvPr/>
        </p:nvSpPr>
        <p:spPr bwMode="gray">
          <a:xfrm>
            <a:off x="5999374" y="1630623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89" name="Ellipse 30"/>
          <p:cNvSpPr/>
          <p:nvPr/>
        </p:nvSpPr>
        <p:spPr bwMode="gray">
          <a:xfrm>
            <a:off x="7079466" y="1446903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90" name="Ellipse 30"/>
          <p:cNvSpPr/>
          <p:nvPr/>
        </p:nvSpPr>
        <p:spPr bwMode="gray">
          <a:xfrm>
            <a:off x="6456563" y="1197909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91" name="Ellipse 30"/>
          <p:cNvSpPr/>
          <p:nvPr/>
        </p:nvSpPr>
        <p:spPr bwMode="gray">
          <a:xfrm>
            <a:off x="5532582" y="2676420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92" name="Ellipse 30"/>
          <p:cNvSpPr/>
          <p:nvPr/>
        </p:nvSpPr>
        <p:spPr bwMode="gray">
          <a:xfrm>
            <a:off x="6734752" y="2682888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93" name="Ellipse 30"/>
          <p:cNvSpPr/>
          <p:nvPr/>
        </p:nvSpPr>
        <p:spPr bwMode="gray">
          <a:xfrm>
            <a:off x="5790840" y="5895300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94" name="Ellipse 30"/>
          <p:cNvSpPr/>
          <p:nvPr/>
        </p:nvSpPr>
        <p:spPr bwMode="gray">
          <a:xfrm>
            <a:off x="6177788" y="6297334"/>
            <a:ext cx="279812" cy="27981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GB" sz="1600" dirty="0">
              <a:solidFill>
                <a:srgbClr val="4D4E5C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98" name="TextBox 297"/>
          <p:cNvSpPr txBox="1"/>
          <p:nvPr/>
        </p:nvSpPr>
        <p:spPr>
          <a:xfrm>
            <a:off x="625978" y="4903306"/>
            <a:ext cx="3018194" cy="898126"/>
          </a:xfrm>
          <a:prstGeom prst="rect">
            <a:avLst/>
          </a:prstGeom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rgbClr val="09244C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  <a:p>
            <a:pPr marL="285750" indent="-285750">
              <a:buClr>
                <a:srgbClr val="09244C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</p:txBody>
      </p:sp>
      <p:sp>
        <p:nvSpPr>
          <p:cNvPr id="300" name="_content"/>
          <p:cNvSpPr>
            <a:spLocks noChangeArrowheads="1"/>
          </p:cNvSpPr>
          <p:nvPr/>
        </p:nvSpPr>
        <p:spPr bwMode="gray">
          <a:xfrm>
            <a:off x="625978" y="4201315"/>
            <a:ext cx="3017838" cy="576114"/>
          </a:xfrm>
          <a:prstGeom prst="round2Same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b="1" noProof="1">
                <a:solidFill>
                  <a:schemeClr val="accent1"/>
                </a:solidFill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5652568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verall Timeli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243" name="Freeform 13"/>
          <p:cNvSpPr>
            <a:spLocks/>
          </p:cNvSpPr>
          <p:nvPr/>
        </p:nvSpPr>
        <p:spPr bwMode="gray">
          <a:xfrm>
            <a:off x="5538522" y="1420813"/>
            <a:ext cx="5581201" cy="4715872"/>
          </a:xfrm>
          <a:custGeom>
            <a:avLst/>
            <a:gdLst>
              <a:gd name="connsiteX0" fmla="*/ 9576 w 10013"/>
              <a:gd name="connsiteY0" fmla="*/ 0 h 10000"/>
              <a:gd name="connsiteX1" fmla="*/ 9782 w 10013"/>
              <a:gd name="connsiteY1" fmla="*/ 1380 h 10000"/>
              <a:gd name="connsiteX2" fmla="*/ 9916 w 10013"/>
              <a:gd name="connsiteY2" fmla="*/ 2599 h 10000"/>
              <a:gd name="connsiteX3" fmla="*/ 9992 w 10013"/>
              <a:gd name="connsiteY3" fmla="*/ 3491 h 10000"/>
              <a:gd name="connsiteX4" fmla="*/ 10013 w 10013"/>
              <a:gd name="connsiteY4" fmla="*/ 3874 h 10000"/>
              <a:gd name="connsiteX5" fmla="*/ 9324 w 10013"/>
              <a:gd name="connsiteY5" fmla="*/ 3632 h 10000"/>
              <a:gd name="connsiteX6" fmla="*/ 8626 w 10013"/>
              <a:gd name="connsiteY6" fmla="*/ 5018 h 10000"/>
              <a:gd name="connsiteX7" fmla="*/ 6911 w 10013"/>
              <a:gd name="connsiteY7" fmla="*/ 7355 h 10000"/>
              <a:gd name="connsiteX8" fmla="*/ 4242 w 10013"/>
              <a:gd name="connsiteY8" fmla="*/ 9340 h 10000"/>
              <a:gd name="connsiteX9" fmla="*/ 837 w 10013"/>
              <a:gd name="connsiteY9" fmla="*/ 9773 h 10000"/>
              <a:gd name="connsiteX10" fmla="*/ 635 w 10013"/>
              <a:gd name="connsiteY10" fmla="*/ 9728 h 10000"/>
              <a:gd name="connsiteX11" fmla="*/ 429 w 10013"/>
              <a:gd name="connsiteY11" fmla="*/ 9683 h 10000"/>
              <a:gd name="connsiteX12" fmla="*/ 219 w 10013"/>
              <a:gd name="connsiteY12" fmla="*/ 9622 h 10000"/>
              <a:gd name="connsiteX13" fmla="*/ 13 w 10013"/>
              <a:gd name="connsiteY13" fmla="*/ 9562 h 10000"/>
              <a:gd name="connsiteX14" fmla="*/ 143 w 10013"/>
              <a:gd name="connsiteY14" fmla="*/ 9597 h 10000"/>
              <a:gd name="connsiteX15" fmla="*/ 219 w 10013"/>
              <a:gd name="connsiteY15" fmla="*/ 9612 h 10000"/>
              <a:gd name="connsiteX16" fmla="*/ 303 w 10013"/>
              <a:gd name="connsiteY16" fmla="*/ 9627 h 10000"/>
              <a:gd name="connsiteX17" fmla="*/ 1648 w 10013"/>
              <a:gd name="connsiteY17" fmla="*/ 9647 h 10000"/>
              <a:gd name="connsiteX18" fmla="*/ 3611 w 10013"/>
              <a:gd name="connsiteY18" fmla="*/ 8982 h 10000"/>
              <a:gd name="connsiteX19" fmla="*/ 5852 w 10013"/>
              <a:gd name="connsiteY19" fmla="*/ 7008 h 10000"/>
              <a:gd name="connsiteX20" fmla="*/ 7899 w 10013"/>
              <a:gd name="connsiteY20" fmla="*/ 3134 h 10000"/>
              <a:gd name="connsiteX21" fmla="*/ 7214 w 10013"/>
              <a:gd name="connsiteY21" fmla="*/ 2892 h 10000"/>
              <a:gd name="connsiteX22" fmla="*/ 7470 w 10013"/>
              <a:gd name="connsiteY22" fmla="*/ 2630 h 10000"/>
              <a:gd name="connsiteX23" fmla="*/ 8042 w 10013"/>
              <a:gd name="connsiteY23" fmla="*/ 2005 h 10000"/>
              <a:gd name="connsiteX24" fmla="*/ 8794 w 10013"/>
              <a:gd name="connsiteY24" fmla="*/ 1098 h 10000"/>
              <a:gd name="connsiteX25" fmla="*/ 9576 w 10013"/>
              <a:gd name="connsiteY25" fmla="*/ 0 h 10000"/>
              <a:gd name="connsiteX0" fmla="*/ 9433 w 9870"/>
              <a:gd name="connsiteY0" fmla="*/ 0 h 10000"/>
              <a:gd name="connsiteX1" fmla="*/ 9639 w 9870"/>
              <a:gd name="connsiteY1" fmla="*/ 1380 h 10000"/>
              <a:gd name="connsiteX2" fmla="*/ 9773 w 9870"/>
              <a:gd name="connsiteY2" fmla="*/ 2599 h 10000"/>
              <a:gd name="connsiteX3" fmla="*/ 9849 w 9870"/>
              <a:gd name="connsiteY3" fmla="*/ 3491 h 10000"/>
              <a:gd name="connsiteX4" fmla="*/ 9870 w 9870"/>
              <a:gd name="connsiteY4" fmla="*/ 3874 h 10000"/>
              <a:gd name="connsiteX5" fmla="*/ 9181 w 9870"/>
              <a:gd name="connsiteY5" fmla="*/ 3632 h 10000"/>
              <a:gd name="connsiteX6" fmla="*/ 8483 w 9870"/>
              <a:gd name="connsiteY6" fmla="*/ 5018 h 10000"/>
              <a:gd name="connsiteX7" fmla="*/ 6768 w 9870"/>
              <a:gd name="connsiteY7" fmla="*/ 7355 h 10000"/>
              <a:gd name="connsiteX8" fmla="*/ 4099 w 9870"/>
              <a:gd name="connsiteY8" fmla="*/ 9340 h 10000"/>
              <a:gd name="connsiteX9" fmla="*/ 694 w 9870"/>
              <a:gd name="connsiteY9" fmla="*/ 9773 h 10000"/>
              <a:gd name="connsiteX10" fmla="*/ 492 w 9870"/>
              <a:gd name="connsiteY10" fmla="*/ 9728 h 10000"/>
              <a:gd name="connsiteX11" fmla="*/ 286 w 9870"/>
              <a:gd name="connsiteY11" fmla="*/ 9683 h 10000"/>
              <a:gd name="connsiteX12" fmla="*/ 76 w 9870"/>
              <a:gd name="connsiteY12" fmla="*/ 9622 h 10000"/>
              <a:gd name="connsiteX13" fmla="*/ 0 w 9870"/>
              <a:gd name="connsiteY13" fmla="*/ 9597 h 10000"/>
              <a:gd name="connsiteX14" fmla="*/ 76 w 9870"/>
              <a:gd name="connsiteY14" fmla="*/ 9612 h 10000"/>
              <a:gd name="connsiteX15" fmla="*/ 160 w 9870"/>
              <a:gd name="connsiteY15" fmla="*/ 9627 h 10000"/>
              <a:gd name="connsiteX16" fmla="*/ 1505 w 9870"/>
              <a:gd name="connsiteY16" fmla="*/ 9647 h 10000"/>
              <a:gd name="connsiteX17" fmla="*/ 3468 w 9870"/>
              <a:gd name="connsiteY17" fmla="*/ 8982 h 10000"/>
              <a:gd name="connsiteX18" fmla="*/ 5709 w 9870"/>
              <a:gd name="connsiteY18" fmla="*/ 7008 h 10000"/>
              <a:gd name="connsiteX19" fmla="*/ 7756 w 9870"/>
              <a:gd name="connsiteY19" fmla="*/ 3134 h 10000"/>
              <a:gd name="connsiteX20" fmla="*/ 7071 w 9870"/>
              <a:gd name="connsiteY20" fmla="*/ 2892 h 10000"/>
              <a:gd name="connsiteX21" fmla="*/ 7327 w 9870"/>
              <a:gd name="connsiteY21" fmla="*/ 2630 h 10000"/>
              <a:gd name="connsiteX22" fmla="*/ 7899 w 9870"/>
              <a:gd name="connsiteY22" fmla="*/ 2005 h 10000"/>
              <a:gd name="connsiteX23" fmla="*/ 8651 w 9870"/>
              <a:gd name="connsiteY23" fmla="*/ 1098 h 10000"/>
              <a:gd name="connsiteX24" fmla="*/ 9433 w 9870"/>
              <a:gd name="connsiteY2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870" h="10000">
                <a:moveTo>
                  <a:pt x="9433" y="0"/>
                </a:moveTo>
                <a:cubicBezTo>
                  <a:pt x="9517" y="469"/>
                  <a:pt x="9584" y="937"/>
                  <a:pt x="9639" y="1380"/>
                </a:cubicBezTo>
                <a:cubicBezTo>
                  <a:pt x="9698" y="1824"/>
                  <a:pt x="9740" y="2237"/>
                  <a:pt x="9773" y="2599"/>
                </a:cubicBezTo>
                <a:cubicBezTo>
                  <a:pt x="9807" y="2962"/>
                  <a:pt x="9832" y="3270"/>
                  <a:pt x="9849" y="3491"/>
                </a:cubicBezTo>
                <a:cubicBezTo>
                  <a:pt x="9862" y="3713"/>
                  <a:pt x="9870" y="3849"/>
                  <a:pt x="9870" y="3874"/>
                </a:cubicBezTo>
                <a:lnTo>
                  <a:pt x="9181" y="3632"/>
                </a:lnTo>
                <a:cubicBezTo>
                  <a:pt x="9113" y="3793"/>
                  <a:pt x="8886" y="4322"/>
                  <a:pt x="8483" y="5018"/>
                </a:cubicBezTo>
                <a:cubicBezTo>
                  <a:pt x="8084" y="5708"/>
                  <a:pt x="7512" y="6554"/>
                  <a:pt x="6768" y="7355"/>
                </a:cubicBezTo>
                <a:cubicBezTo>
                  <a:pt x="6036" y="8146"/>
                  <a:pt x="5141" y="8872"/>
                  <a:pt x="4099" y="9340"/>
                </a:cubicBezTo>
                <a:cubicBezTo>
                  <a:pt x="3086" y="9798"/>
                  <a:pt x="1942" y="10000"/>
                  <a:pt x="694" y="9773"/>
                </a:cubicBezTo>
                <a:lnTo>
                  <a:pt x="492" y="9728"/>
                </a:lnTo>
                <a:lnTo>
                  <a:pt x="286" y="9683"/>
                </a:lnTo>
                <a:lnTo>
                  <a:pt x="76" y="9622"/>
                </a:lnTo>
                <a:lnTo>
                  <a:pt x="0" y="9597"/>
                </a:lnTo>
                <a:cubicBezTo>
                  <a:pt x="34" y="9605"/>
                  <a:pt x="51" y="9607"/>
                  <a:pt x="76" y="9612"/>
                </a:cubicBezTo>
                <a:cubicBezTo>
                  <a:pt x="101" y="9617"/>
                  <a:pt x="131" y="9622"/>
                  <a:pt x="160" y="9627"/>
                </a:cubicBezTo>
                <a:cubicBezTo>
                  <a:pt x="479" y="9688"/>
                  <a:pt x="946" y="9723"/>
                  <a:pt x="1505" y="9647"/>
                </a:cubicBezTo>
                <a:cubicBezTo>
                  <a:pt x="2081" y="9572"/>
                  <a:pt x="2754" y="9385"/>
                  <a:pt x="3468" y="8982"/>
                </a:cubicBezTo>
                <a:cubicBezTo>
                  <a:pt x="4200" y="8574"/>
                  <a:pt x="4969" y="7945"/>
                  <a:pt x="5709" y="7008"/>
                </a:cubicBezTo>
                <a:cubicBezTo>
                  <a:pt x="6457" y="6050"/>
                  <a:pt x="7167" y="4786"/>
                  <a:pt x="7756" y="3134"/>
                </a:cubicBezTo>
                <a:lnTo>
                  <a:pt x="7071" y="2892"/>
                </a:lnTo>
                <a:cubicBezTo>
                  <a:pt x="7087" y="2877"/>
                  <a:pt x="7180" y="2786"/>
                  <a:pt x="7327" y="2630"/>
                </a:cubicBezTo>
                <a:cubicBezTo>
                  <a:pt x="7474" y="2479"/>
                  <a:pt x="7672" y="2262"/>
                  <a:pt x="7899" y="2005"/>
                </a:cubicBezTo>
                <a:cubicBezTo>
                  <a:pt x="8130" y="1743"/>
                  <a:pt x="8386" y="1436"/>
                  <a:pt x="8651" y="1098"/>
                </a:cubicBezTo>
                <a:cubicBezTo>
                  <a:pt x="8916" y="756"/>
                  <a:pt x="9185" y="388"/>
                  <a:pt x="9433" y="0"/>
                </a:cubicBez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2000">
                <a:schemeClr val="accent4"/>
              </a:gs>
            </a:gsLst>
            <a:lin ang="18900000" scaled="1"/>
            <a:tileRect/>
          </a:gra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>
              <a:rot lat="0" lon="0" rev="19800000"/>
            </a:lightRig>
          </a:scene3d>
          <a:sp3d extrusionH="635000">
            <a:bevelB w="50800" h="50800" prst="angle"/>
          </a:sp3d>
        </p:spPr>
        <p:txBody>
          <a:bodyPr vert="horz" wrap="square" lIns="91422" tIns="45718" rIns="91422" bIns="45718" numCol="1" anchor="t" anchorCtr="0" compatLnSpc="1">
            <a:prstTxWarp prst="textNoShape">
              <a:avLst/>
            </a:prstTxWarp>
          </a:bodyPr>
          <a:lstStyle/>
          <a:p>
            <a:pPr indent="-190462">
              <a:lnSpc>
                <a:spcPct val="95000"/>
              </a:lnSpc>
              <a:spcAft>
                <a:spcPts val="800"/>
              </a:spcAft>
              <a:buClr>
                <a:srgbClr val="808080"/>
              </a:buClr>
              <a:defRPr/>
            </a:pPr>
            <a:endParaRPr lang="en-US" noProof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244" name="Gerader Verbinder 7"/>
          <p:cNvCxnSpPr/>
          <p:nvPr/>
        </p:nvCxnSpPr>
        <p:spPr bwMode="gray">
          <a:xfrm>
            <a:off x="8488170" y="2338751"/>
            <a:ext cx="1402855" cy="0"/>
          </a:xfrm>
          <a:prstGeom prst="line">
            <a:avLst/>
          </a:prstGeom>
          <a:ln w="12700">
            <a:solidFill>
              <a:srgbClr val="B3E9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Gerader Verbinder 32"/>
          <p:cNvCxnSpPr/>
          <p:nvPr/>
        </p:nvCxnSpPr>
        <p:spPr bwMode="gray">
          <a:xfrm>
            <a:off x="7734232" y="3346650"/>
            <a:ext cx="1854903" cy="0"/>
          </a:xfrm>
          <a:prstGeom prst="line">
            <a:avLst/>
          </a:prstGeom>
          <a:ln w="12700">
            <a:solidFill>
              <a:srgbClr val="B3E9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r Verbinder 33"/>
          <p:cNvCxnSpPr/>
          <p:nvPr/>
        </p:nvCxnSpPr>
        <p:spPr bwMode="gray">
          <a:xfrm>
            <a:off x="6806777" y="4354549"/>
            <a:ext cx="2134203" cy="0"/>
          </a:xfrm>
          <a:prstGeom prst="line">
            <a:avLst/>
          </a:prstGeom>
          <a:ln w="12700">
            <a:solidFill>
              <a:srgbClr val="B3E9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r Verbinder 34"/>
          <p:cNvCxnSpPr/>
          <p:nvPr/>
        </p:nvCxnSpPr>
        <p:spPr bwMode="gray">
          <a:xfrm>
            <a:off x="5972168" y="5362449"/>
            <a:ext cx="1762061" cy="0"/>
          </a:xfrm>
          <a:prstGeom prst="line">
            <a:avLst/>
          </a:prstGeom>
          <a:ln w="12700">
            <a:solidFill>
              <a:srgbClr val="B3E9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Textplatzhalter 3"/>
          <p:cNvSpPr txBox="1">
            <a:spLocks/>
          </p:cNvSpPr>
          <p:nvPr/>
        </p:nvSpPr>
        <p:spPr bwMode="gray">
          <a:xfrm>
            <a:off x="2959100" y="1929719"/>
            <a:ext cx="4976037" cy="8180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108000" tIns="36000" rIns="108000" bIns="3600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>
                <a:cs typeface="Arial" panose="020B0604020202020204" pitchFamily="34" charset="0"/>
              </a:rPr>
              <a:t>Remove and replace this text with any details related to your project, feel free to change the title. </a:t>
            </a:r>
          </a:p>
        </p:txBody>
      </p:sp>
      <p:sp>
        <p:nvSpPr>
          <p:cNvPr id="24" name="Round Same Side Corner Rectangle 23"/>
          <p:cNvSpPr/>
          <p:nvPr/>
        </p:nvSpPr>
        <p:spPr>
          <a:xfrm rot="5400000">
            <a:off x="7816463" y="2066495"/>
            <a:ext cx="817563" cy="544512"/>
          </a:xfrm>
          <a:prstGeom prst="round2SameRect">
            <a:avLst>
              <a:gd name="adj1" fmla="val 48810"/>
              <a:gd name="adj2" fmla="val 0"/>
            </a:avLst>
          </a:prstGeom>
          <a:solidFill>
            <a:srgbClr val="B3E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2023</a:t>
            </a:r>
          </a:p>
        </p:txBody>
      </p:sp>
      <p:sp>
        <p:nvSpPr>
          <p:cNvPr id="249" name="Textplatzhalter 3"/>
          <p:cNvSpPr txBox="1">
            <a:spLocks/>
          </p:cNvSpPr>
          <p:nvPr/>
        </p:nvSpPr>
        <p:spPr bwMode="gray">
          <a:xfrm>
            <a:off x="2200930" y="2942040"/>
            <a:ext cx="4976408" cy="8180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108000" tIns="36000" rIns="108000" bIns="3600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>
                <a:cs typeface="Arial" panose="020B0604020202020204" pitchFamily="34" charset="0"/>
              </a:rPr>
              <a:t>Remove and replace this text with any details related to your project, feel free to change the title. </a:t>
            </a:r>
          </a:p>
        </p:txBody>
      </p:sp>
      <p:sp>
        <p:nvSpPr>
          <p:cNvPr id="253" name="Round Same Side Corner Rectangle 252"/>
          <p:cNvSpPr/>
          <p:nvPr/>
        </p:nvSpPr>
        <p:spPr>
          <a:xfrm rot="5400000">
            <a:off x="7058813" y="3078567"/>
            <a:ext cx="817563" cy="544512"/>
          </a:xfrm>
          <a:prstGeom prst="round2SameRect">
            <a:avLst>
              <a:gd name="adj1" fmla="val 48810"/>
              <a:gd name="adj2" fmla="val 0"/>
            </a:avLst>
          </a:prstGeom>
          <a:solidFill>
            <a:srgbClr val="B3E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2022</a:t>
            </a:r>
          </a:p>
        </p:txBody>
      </p:sp>
      <p:sp>
        <p:nvSpPr>
          <p:cNvPr id="250" name="Textplatzhalter 3"/>
          <p:cNvSpPr txBox="1">
            <a:spLocks/>
          </p:cNvSpPr>
          <p:nvPr/>
        </p:nvSpPr>
        <p:spPr bwMode="gray">
          <a:xfrm>
            <a:off x="1271735" y="3949939"/>
            <a:ext cx="4976408" cy="8180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108000" tIns="36000" rIns="108000" bIns="3600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>
                <a:cs typeface="Arial" panose="020B0604020202020204" pitchFamily="34" charset="0"/>
              </a:rPr>
              <a:t>Remove and replace this text with any details related to your project, feel free to change the title. </a:t>
            </a:r>
          </a:p>
        </p:txBody>
      </p:sp>
      <p:sp>
        <p:nvSpPr>
          <p:cNvPr id="254" name="Round Same Side Corner Rectangle 253"/>
          <p:cNvSpPr/>
          <p:nvPr/>
        </p:nvSpPr>
        <p:spPr>
          <a:xfrm rot="5400000">
            <a:off x="6129618" y="4086966"/>
            <a:ext cx="817563" cy="544512"/>
          </a:xfrm>
          <a:prstGeom prst="round2SameRect">
            <a:avLst>
              <a:gd name="adj1" fmla="val 48810"/>
              <a:gd name="adj2" fmla="val 0"/>
            </a:avLst>
          </a:prstGeom>
          <a:solidFill>
            <a:srgbClr val="B3E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2021</a:t>
            </a:r>
          </a:p>
        </p:txBody>
      </p:sp>
      <p:sp>
        <p:nvSpPr>
          <p:cNvPr id="251" name="Textplatzhalter 3"/>
          <p:cNvSpPr txBox="1">
            <a:spLocks/>
          </p:cNvSpPr>
          <p:nvPr/>
        </p:nvSpPr>
        <p:spPr bwMode="gray">
          <a:xfrm>
            <a:off x="441191" y="4953417"/>
            <a:ext cx="4976408" cy="8180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108000" tIns="36000" rIns="108000" bIns="3600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>
                <a:cs typeface="Arial" panose="020B0604020202020204" pitchFamily="34" charset="0"/>
              </a:rPr>
              <a:t>Remove and replace this text with any details related to your project, feel free to change the title. </a:t>
            </a:r>
          </a:p>
        </p:txBody>
      </p:sp>
      <p:sp>
        <p:nvSpPr>
          <p:cNvPr id="255" name="Round Same Side Corner Rectangle 254"/>
          <p:cNvSpPr/>
          <p:nvPr/>
        </p:nvSpPr>
        <p:spPr>
          <a:xfrm rot="5400000">
            <a:off x="5299074" y="5089944"/>
            <a:ext cx="817563" cy="544512"/>
          </a:xfrm>
          <a:prstGeom prst="round2SameRect">
            <a:avLst>
              <a:gd name="adj1" fmla="val 48810"/>
              <a:gd name="adj2" fmla="val 0"/>
            </a:avLst>
          </a:prstGeom>
          <a:solidFill>
            <a:srgbClr val="B3E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5819117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ject Summar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15606" y="1453843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Description: what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4963" y="1453843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1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15606" y="1776521"/>
            <a:ext cx="4724400" cy="1021237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15606" y="2929177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Rationale: why?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4963" y="2929177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2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15606" y="3251855"/>
            <a:ext cx="4724400" cy="775015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15606" y="4158289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Roles and responsibilities: who?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4963" y="4158289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3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15606" y="4480967"/>
            <a:ext cx="4724400" cy="1021237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ponsible:	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countable: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sulted: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ormed: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15606" y="5633624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Budget: how much?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34963" y="5633624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4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15606" y="5956302"/>
            <a:ext cx="4724400" cy="282573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656031" y="1453843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Outside partner(s): who else?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75388" y="1453843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5.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656031" y="1776521"/>
            <a:ext cx="4724400" cy="775015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pany: 	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ey contact: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tact details:	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6275388" y="2929177"/>
            <a:ext cx="5105043" cy="313350"/>
            <a:chOff x="334963" y="1453843"/>
            <a:chExt cx="5105043" cy="313350"/>
          </a:xfrm>
        </p:grpSpPr>
        <p:sp>
          <p:nvSpPr>
            <p:cNvPr id="34" name="TextBox 33"/>
            <p:cNvSpPr txBox="1"/>
            <p:nvPr/>
          </p:nvSpPr>
          <p:spPr>
            <a:xfrm>
              <a:off x="715606" y="1453843"/>
              <a:ext cx="4724400" cy="313350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</a:rPr>
                <a:t>Roadmap: when?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34963" y="1453843"/>
              <a:ext cx="328612" cy="313350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b="1" dirty="0">
                  <a:solidFill>
                    <a:schemeClr val="accent5"/>
                  </a:solidFill>
                </a:rPr>
                <a:t>06.</a:t>
              </a:r>
            </a:p>
          </p:txBody>
        </p:sp>
      </p:grpSp>
      <p:graphicFrame>
        <p:nvGraphicFramePr>
          <p:cNvPr id="3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083041"/>
              </p:ext>
            </p:extLst>
          </p:nvPr>
        </p:nvGraphicFramePr>
        <p:xfrm>
          <a:off x="6656031" y="3251855"/>
          <a:ext cx="5199419" cy="1220472"/>
        </p:xfrm>
        <a:graphic>
          <a:graphicData uri="http://schemas.openxmlformats.org/drawingml/2006/table">
            <a:tbl>
              <a:tblPr/>
              <a:tblGrid>
                <a:gridCol w="43260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734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Milestone</a:t>
                      </a:r>
                      <a:endParaRPr kumimoji="0" lang="en-US" sz="1000" b="1" i="0" u="none" strike="noStrike" cap="none" normalizeH="0" baseline="3000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Deadline</a:t>
                      </a:r>
                    </a:p>
                  </a:txBody>
                  <a:tcPr marL="73165" marR="73165" marT="38206" marB="38206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pSp>
        <p:nvGrpSpPr>
          <p:cNvPr id="38" name="Group 37"/>
          <p:cNvGrpSpPr/>
          <p:nvPr/>
        </p:nvGrpSpPr>
        <p:grpSpPr>
          <a:xfrm>
            <a:off x="6275388" y="4695725"/>
            <a:ext cx="5105043" cy="313350"/>
            <a:chOff x="334963" y="1453843"/>
            <a:chExt cx="5105043" cy="313350"/>
          </a:xfrm>
        </p:grpSpPr>
        <p:sp>
          <p:nvSpPr>
            <p:cNvPr id="39" name="TextBox 38"/>
            <p:cNvSpPr txBox="1"/>
            <p:nvPr/>
          </p:nvSpPr>
          <p:spPr>
            <a:xfrm>
              <a:off x="715606" y="1453843"/>
              <a:ext cx="4724400" cy="313350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</a:rPr>
                <a:t>Monitoring: how successful? 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34963" y="1453843"/>
              <a:ext cx="328612" cy="313350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b="1" dirty="0">
                  <a:solidFill>
                    <a:schemeClr val="accent5"/>
                  </a:solidFill>
                </a:rPr>
                <a:t>07.</a:t>
              </a:r>
            </a:p>
          </p:txBody>
        </p:sp>
      </p:grpSp>
      <p:graphicFrame>
        <p:nvGraphicFramePr>
          <p:cNvPr id="41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3483321"/>
              </p:ext>
            </p:extLst>
          </p:nvPr>
        </p:nvGraphicFramePr>
        <p:xfrm>
          <a:off x="6656031" y="5018403"/>
          <a:ext cx="5199419" cy="1220472"/>
        </p:xfrm>
        <a:graphic>
          <a:graphicData uri="http://schemas.openxmlformats.org/drawingml/2006/table">
            <a:tbl>
              <a:tblPr/>
              <a:tblGrid>
                <a:gridCol w="43260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734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Milestone</a:t>
                      </a:r>
                      <a:endParaRPr kumimoji="0" lang="en-US" sz="1000" b="1" i="0" u="none" strike="noStrike" cap="none" normalizeH="0" baseline="3000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KPI</a:t>
                      </a:r>
                    </a:p>
                  </a:txBody>
                  <a:tcPr marL="73165" marR="73165" marT="38206" marB="38206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8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73165" marR="73165" marT="38206" marB="38206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39858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84" name="Line 55" descr="© INSCALE GmbH, 26.05.2010&#10;http://www.presentationload.com/"/>
          <p:cNvSpPr>
            <a:spLocks noChangeShapeType="1"/>
          </p:cNvSpPr>
          <p:nvPr/>
        </p:nvSpPr>
        <p:spPr bwMode="gray">
          <a:xfrm flipV="1">
            <a:off x="6095868" y="1377331"/>
            <a:ext cx="0" cy="4861544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lgDash"/>
            <a:round/>
            <a:headEnd/>
            <a:tailEnd/>
          </a:ln>
          <a:effectLst/>
        </p:spPr>
        <p:txBody>
          <a:bodyPr wrap="none" anchor="ctr"/>
          <a:lstStyle/>
          <a:p>
            <a:pPr defTabSz="609507">
              <a:lnSpc>
                <a:spcPct val="95000"/>
              </a:lnSpc>
              <a:spcAft>
                <a:spcPts val="935"/>
              </a:spcAft>
            </a:pPr>
            <a:endParaRPr lang="en-US" sz="2400" dirty="0">
              <a:cs typeface="Arial" panose="020B0604020202020204" pitchFamily="34" charset="0"/>
            </a:endParaRPr>
          </a:p>
        </p:txBody>
      </p:sp>
      <p:sp>
        <p:nvSpPr>
          <p:cNvPr id="186" name="Ellipse 43"/>
          <p:cNvSpPr>
            <a:spLocks noChangeAspect="1"/>
          </p:cNvSpPr>
          <p:nvPr/>
        </p:nvSpPr>
        <p:spPr bwMode="gray">
          <a:xfrm>
            <a:off x="4266694" y="2299564"/>
            <a:ext cx="1074328" cy="1074322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861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87" name="Ellipse 9"/>
          <p:cNvSpPr>
            <a:spLocks noChangeAspect="1"/>
          </p:cNvSpPr>
          <p:nvPr/>
        </p:nvSpPr>
        <p:spPr bwMode="gray">
          <a:xfrm>
            <a:off x="4343690" y="2376560"/>
            <a:ext cx="920334" cy="920330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86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B3E900"/>
                </a:solidFill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188" name="Textplatzhalter 3"/>
          <p:cNvSpPr txBox="1">
            <a:spLocks/>
          </p:cNvSpPr>
          <p:nvPr/>
        </p:nvSpPr>
        <p:spPr bwMode="gray">
          <a:xfrm>
            <a:off x="1715143" y="2586562"/>
            <a:ext cx="2337698" cy="50032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2000" b="1" cap="all" dirty="0">
                <a:solidFill>
                  <a:schemeClr val="accent1"/>
                </a:solidFill>
                <a:cs typeface="Arial" panose="020B0604020202020204" pitchFamily="34" charset="0"/>
              </a:rPr>
              <a:t>Step 3</a:t>
            </a:r>
            <a:endParaRPr lang="en-US" sz="1400" b="1" cap="all" dirty="0">
              <a:solidFill>
                <a:schemeClr val="accent1"/>
              </a:solidFill>
              <a:cs typeface="Arial" panose="020B0604020202020204" pitchFamily="34" charset="0"/>
            </a:endParaRPr>
          </a:p>
          <a:p>
            <a:pPr algn="r">
              <a:spcBef>
                <a:spcPts val="300"/>
              </a:spcBef>
            </a:pPr>
            <a:r>
              <a:rPr lang="en-US" sz="1400" dirty="0"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190" name="Ellipse 41"/>
          <p:cNvSpPr>
            <a:spLocks noChangeAspect="1"/>
          </p:cNvSpPr>
          <p:nvPr/>
        </p:nvSpPr>
        <p:spPr bwMode="gray">
          <a:xfrm>
            <a:off x="3924366" y="4003980"/>
            <a:ext cx="1416656" cy="1416652"/>
          </a:xfrm>
          <a:prstGeom prst="ellipse">
            <a:avLst/>
          </a:prstGeom>
          <a:solidFill>
            <a:srgbClr val="B3E9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861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91" name="Ellipse 15"/>
          <p:cNvSpPr>
            <a:spLocks noChangeAspect="1"/>
          </p:cNvSpPr>
          <p:nvPr/>
        </p:nvSpPr>
        <p:spPr bwMode="gray">
          <a:xfrm>
            <a:off x="4021080" y="4100694"/>
            <a:ext cx="1223228" cy="122322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86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192" name="Textplatzhalter 3"/>
          <p:cNvSpPr txBox="1">
            <a:spLocks/>
          </p:cNvSpPr>
          <p:nvPr/>
        </p:nvSpPr>
        <p:spPr bwMode="gray">
          <a:xfrm>
            <a:off x="1339644" y="4462143"/>
            <a:ext cx="2337698" cy="50032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300"/>
              </a:spcBef>
            </a:pPr>
            <a:r>
              <a:rPr lang="en-US" sz="2000" b="1" cap="all" dirty="0">
                <a:solidFill>
                  <a:srgbClr val="B3E900"/>
                </a:solidFill>
                <a:cs typeface="Arial" panose="020B0604020202020204" pitchFamily="34" charset="0"/>
              </a:rPr>
              <a:t>Step 2</a:t>
            </a:r>
            <a:endParaRPr lang="en-US" sz="1400" b="1" cap="all" dirty="0">
              <a:solidFill>
                <a:srgbClr val="B3E900"/>
              </a:solidFill>
              <a:cs typeface="Arial" panose="020B0604020202020204" pitchFamily="34" charset="0"/>
            </a:endParaRPr>
          </a:p>
          <a:p>
            <a:pPr algn="r">
              <a:spcBef>
                <a:spcPts val="300"/>
              </a:spcBef>
            </a:pPr>
            <a:r>
              <a:rPr lang="en-US" sz="1400" dirty="0"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194" name="Ellipse 44"/>
          <p:cNvSpPr>
            <a:spLocks noChangeAspect="1"/>
          </p:cNvSpPr>
          <p:nvPr/>
        </p:nvSpPr>
        <p:spPr bwMode="gray">
          <a:xfrm>
            <a:off x="6824918" y="1377331"/>
            <a:ext cx="1260004" cy="1260000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861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95" name="Ellipse 6"/>
          <p:cNvSpPr>
            <a:spLocks noChangeAspect="1"/>
          </p:cNvSpPr>
          <p:nvPr/>
        </p:nvSpPr>
        <p:spPr bwMode="gray">
          <a:xfrm>
            <a:off x="6924489" y="1476901"/>
            <a:ext cx="1060863" cy="1060860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86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B3E900"/>
                </a:solidFill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196" name="Textplatzhalter 3"/>
          <p:cNvSpPr txBox="1">
            <a:spLocks/>
          </p:cNvSpPr>
          <p:nvPr/>
        </p:nvSpPr>
        <p:spPr bwMode="gray">
          <a:xfrm>
            <a:off x="8293084" y="1757168"/>
            <a:ext cx="2337698" cy="50032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2000" b="1" cap="all" dirty="0">
                <a:solidFill>
                  <a:schemeClr val="accent1"/>
                </a:solidFill>
                <a:cs typeface="Arial" panose="020B0604020202020204" pitchFamily="34" charset="0"/>
              </a:rPr>
              <a:t>Step 5</a:t>
            </a:r>
            <a:endParaRPr lang="en-US" sz="1400" b="1" cap="all" dirty="0">
              <a:solidFill>
                <a:schemeClr val="accent1"/>
              </a:solidFill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sz="1400" dirty="0"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198" name="Ellipse 42"/>
          <p:cNvSpPr>
            <a:spLocks noChangeAspect="1"/>
          </p:cNvSpPr>
          <p:nvPr/>
        </p:nvSpPr>
        <p:spPr bwMode="gray">
          <a:xfrm>
            <a:off x="6824918" y="3383620"/>
            <a:ext cx="879286" cy="879284"/>
          </a:xfrm>
          <a:prstGeom prst="ellipse">
            <a:avLst/>
          </a:prstGeom>
          <a:solidFill>
            <a:srgbClr val="B3E9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861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99" name="Ellipse 12"/>
          <p:cNvSpPr>
            <a:spLocks noChangeAspect="1"/>
          </p:cNvSpPr>
          <p:nvPr/>
        </p:nvSpPr>
        <p:spPr bwMode="gray">
          <a:xfrm>
            <a:off x="6892559" y="3451261"/>
            <a:ext cx="744004" cy="74400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86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accent1"/>
                </a:solidFill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200" name="Textplatzhalter 3"/>
          <p:cNvSpPr txBox="1">
            <a:spLocks/>
          </p:cNvSpPr>
          <p:nvPr/>
        </p:nvSpPr>
        <p:spPr bwMode="gray">
          <a:xfrm>
            <a:off x="7896598" y="3573099"/>
            <a:ext cx="2337698" cy="50032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2000" b="1" cap="all" dirty="0">
                <a:solidFill>
                  <a:srgbClr val="B3E900"/>
                </a:solidFill>
                <a:cs typeface="Arial" panose="020B0604020202020204" pitchFamily="34" charset="0"/>
              </a:rPr>
              <a:t>Step 3</a:t>
            </a:r>
            <a:endParaRPr lang="en-US" sz="1400" b="1" cap="all" dirty="0">
              <a:solidFill>
                <a:srgbClr val="B3E900"/>
              </a:solidFill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sz="1400" dirty="0"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202" name="Ellipse 40"/>
          <p:cNvSpPr>
            <a:spLocks noChangeAspect="1"/>
          </p:cNvSpPr>
          <p:nvPr/>
        </p:nvSpPr>
        <p:spPr bwMode="gray">
          <a:xfrm>
            <a:off x="6824918" y="5013114"/>
            <a:ext cx="1224004" cy="1224000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861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203" name="Ellipse 22"/>
          <p:cNvSpPr>
            <a:spLocks noChangeAspect="1"/>
          </p:cNvSpPr>
          <p:nvPr/>
        </p:nvSpPr>
        <p:spPr bwMode="gray">
          <a:xfrm>
            <a:off x="6906489" y="5094684"/>
            <a:ext cx="1060863" cy="1060860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12186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B3E900"/>
                </a:solidFill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04" name="Textplatzhalter 3"/>
          <p:cNvSpPr txBox="1">
            <a:spLocks/>
          </p:cNvSpPr>
          <p:nvPr/>
        </p:nvSpPr>
        <p:spPr bwMode="gray">
          <a:xfrm>
            <a:off x="8257080" y="5374951"/>
            <a:ext cx="2337698" cy="50032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2000" b="1" cap="all" dirty="0">
                <a:solidFill>
                  <a:schemeClr val="accent1"/>
                </a:solidFill>
                <a:cs typeface="Arial" panose="020B0604020202020204" pitchFamily="34" charset="0"/>
              </a:rPr>
              <a:t>Step 1</a:t>
            </a:r>
            <a:endParaRPr lang="en-US" sz="1400" b="1" cap="all" dirty="0">
              <a:solidFill>
                <a:schemeClr val="accent1"/>
              </a:solidFill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sz="1400" dirty="0">
                <a:cs typeface="Arial" panose="020B0604020202020204" pitchFamily="34" charset="0"/>
              </a:rPr>
              <a:t>Placeholder</a:t>
            </a:r>
          </a:p>
        </p:txBody>
      </p:sp>
      <p:sp>
        <p:nvSpPr>
          <p:cNvPr id="220" name="Muenchen PKT"/>
          <p:cNvSpPr/>
          <p:nvPr/>
        </p:nvSpPr>
        <p:spPr bwMode="gray">
          <a:xfrm>
            <a:off x="6041868" y="5571113"/>
            <a:ext cx="108000" cy="10800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8" rIns="91422" bIns="45718" rtlCol="0" anchor="ctr"/>
          <a:lstStyle/>
          <a:p>
            <a:pPr algn="ctr"/>
            <a:endParaRPr lang="en-US" sz="17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1" name="Muenchen PKT"/>
          <p:cNvSpPr/>
          <p:nvPr/>
        </p:nvSpPr>
        <p:spPr bwMode="gray">
          <a:xfrm>
            <a:off x="6041868" y="4658306"/>
            <a:ext cx="108000" cy="108000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8" rIns="91422" bIns="45718" rtlCol="0" anchor="ctr"/>
          <a:lstStyle/>
          <a:p>
            <a:pPr algn="ctr"/>
            <a:endParaRPr lang="en-US" sz="17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2" name="Muenchen PKT"/>
          <p:cNvSpPr/>
          <p:nvPr/>
        </p:nvSpPr>
        <p:spPr bwMode="gray">
          <a:xfrm>
            <a:off x="6041868" y="3775159"/>
            <a:ext cx="108000" cy="108000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8" rIns="91422" bIns="45718" rtlCol="0" anchor="ctr"/>
          <a:lstStyle/>
          <a:p>
            <a:pPr algn="ctr"/>
            <a:endParaRPr lang="en-US" sz="17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3" name="Muenchen PKT"/>
          <p:cNvSpPr/>
          <p:nvPr/>
        </p:nvSpPr>
        <p:spPr bwMode="gray">
          <a:xfrm>
            <a:off x="6041868" y="2782725"/>
            <a:ext cx="108000" cy="10800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8" rIns="91422" bIns="45718" rtlCol="0" anchor="ctr"/>
          <a:lstStyle/>
          <a:p>
            <a:pPr algn="ctr"/>
            <a:endParaRPr lang="en-US" sz="17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4" name="Muenchen PKT"/>
          <p:cNvSpPr/>
          <p:nvPr/>
        </p:nvSpPr>
        <p:spPr bwMode="gray">
          <a:xfrm>
            <a:off x="6041868" y="1953331"/>
            <a:ext cx="108000" cy="10800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8" rIns="91422" bIns="45718" rtlCol="0" anchor="ctr"/>
          <a:lstStyle/>
          <a:p>
            <a:pPr algn="ctr"/>
            <a:endParaRPr lang="en-US" sz="17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225" name="Group 224"/>
          <p:cNvGrpSpPr/>
          <p:nvPr/>
        </p:nvGrpSpPr>
        <p:grpSpPr>
          <a:xfrm rot="5400000">
            <a:off x="6734621" y="1845406"/>
            <a:ext cx="323850" cy="323850"/>
            <a:chOff x="428846" y="1801019"/>
            <a:chExt cx="323850" cy="323850"/>
          </a:xfrm>
        </p:grpSpPr>
        <p:sp>
          <p:nvSpPr>
            <p:cNvPr id="226" name="Oval 225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7" name="Chevron 226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28" name="Group 227"/>
          <p:cNvGrpSpPr/>
          <p:nvPr/>
        </p:nvGrpSpPr>
        <p:grpSpPr>
          <a:xfrm rot="16200000" flipH="1">
            <a:off x="5167287" y="2702903"/>
            <a:ext cx="267645" cy="267645"/>
            <a:chOff x="428846" y="1801019"/>
            <a:chExt cx="323850" cy="323850"/>
          </a:xfrm>
        </p:grpSpPr>
        <p:sp>
          <p:nvSpPr>
            <p:cNvPr id="229" name="Oval 228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Chevron 229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31" name="Group 230"/>
          <p:cNvGrpSpPr/>
          <p:nvPr/>
        </p:nvGrpSpPr>
        <p:grpSpPr>
          <a:xfrm rot="16200000" flipH="1">
            <a:off x="5102099" y="4550382"/>
            <a:ext cx="323850" cy="323850"/>
            <a:chOff x="428846" y="1801019"/>
            <a:chExt cx="323850" cy="323850"/>
          </a:xfrm>
        </p:grpSpPr>
        <p:sp>
          <p:nvSpPr>
            <p:cNvPr id="232" name="Oval 231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rgbClr val="B3E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3" name="Chevron 232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37" name="Group 236"/>
          <p:cNvGrpSpPr/>
          <p:nvPr/>
        </p:nvGrpSpPr>
        <p:grpSpPr>
          <a:xfrm rot="5400000">
            <a:off x="6719854" y="3701605"/>
            <a:ext cx="243314" cy="243314"/>
            <a:chOff x="428846" y="1801019"/>
            <a:chExt cx="323850" cy="323850"/>
          </a:xfrm>
        </p:grpSpPr>
        <p:sp>
          <p:nvSpPr>
            <p:cNvPr id="238" name="Oval 237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rgbClr val="B3E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9" name="Chevron 238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40" name="Group 239"/>
          <p:cNvGrpSpPr/>
          <p:nvPr/>
        </p:nvGrpSpPr>
        <p:grpSpPr>
          <a:xfrm rot="5400000">
            <a:off x="6734621" y="5463189"/>
            <a:ext cx="323850" cy="323850"/>
            <a:chOff x="428846" y="1801019"/>
            <a:chExt cx="323850" cy="323850"/>
          </a:xfrm>
        </p:grpSpPr>
        <p:sp>
          <p:nvSpPr>
            <p:cNvPr id="241" name="Oval 240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Chevron 241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9504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ercent Comple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1</a:t>
            </a:fld>
            <a:endParaRPr lang="en-US" dirty="0"/>
          </a:p>
        </p:txBody>
      </p:sp>
      <p:graphicFrame>
        <p:nvGraphicFramePr>
          <p:cNvPr id="73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335925"/>
              </p:ext>
            </p:extLst>
          </p:nvPr>
        </p:nvGraphicFramePr>
        <p:xfrm>
          <a:off x="334963" y="1294922"/>
          <a:ext cx="11520487" cy="4079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630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114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114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1148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1148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7114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414159">
                <a:tc>
                  <a:txBody>
                    <a:bodyPr/>
                    <a:lstStyle/>
                    <a:p>
                      <a:r>
                        <a:rPr lang="de-DE" sz="1900" b="1" cap="all" baseline="0" dirty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TASKS</a:t>
                      </a:r>
                    </a:p>
                  </a:txBody>
                  <a:tcPr marL="91452" marR="91452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b="1" cap="none" baseline="0" dirty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b="1" cap="none" baseline="0" dirty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b="1" cap="none" baseline="0" dirty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b="1" cap="none" baseline="0" dirty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b="1" cap="none" baseline="0" dirty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6530">
                <a:tc>
                  <a:txBody>
                    <a:bodyPr/>
                    <a:lstStyle/>
                    <a:p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ask, Feature </a:t>
                      </a:r>
                      <a:r>
                        <a:rPr lang="de-DE" sz="1500" cap="none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r</a:t>
                      </a: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Milestone</a:t>
                      </a:r>
                    </a:p>
                  </a:txBody>
                  <a:tcPr marL="91452" marR="91452" marT="54000" marB="54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6530">
                <a:tc>
                  <a:txBody>
                    <a:bodyPr/>
                    <a:lstStyle/>
                    <a:p>
                      <a:pPr marL="0" marR="0" indent="0" algn="l" defTabSz="9144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ask, Feature </a:t>
                      </a:r>
                      <a:r>
                        <a:rPr lang="de-DE" sz="1500" cap="none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r</a:t>
                      </a: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Milestone</a:t>
                      </a:r>
                    </a:p>
                  </a:txBody>
                  <a:tcPr marL="91452" marR="91452" marT="54000" marB="54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6530">
                <a:tc>
                  <a:txBody>
                    <a:bodyPr/>
                    <a:lstStyle/>
                    <a:p>
                      <a:pPr marL="0" marR="0" indent="0" algn="l" defTabSz="9144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ask, Feature </a:t>
                      </a:r>
                      <a:r>
                        <a:rPr lang="de-DE" sz="1500" cap="none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r</a:t>
                      </a: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Milestone</a:t>
                      </a:r>
                    </a:p>
                  </a:txBody>
                  <a:tcPr marL="91452" marR="91452" marT="54000" marB="54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6530">
                <a:tc>
                  <a:txBody>
                    <a:bodyPr/>
                    <a:lstStyle/>
                    <a:p>
                      <a:pPr marL="0" marR="0" indent="0" algn="l" defTabSz="9144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ask, Feature </a:t>
                      </a:r>
                      <a:r>
                        <a:rPr lang="de-DE" sz="1500" cap="none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r</a:t>
                      </a: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Milestone</a:t>
                      </a:r>
                    </a:p>
                  </a:txBody>
                  <a:tcPr marL="91452" marR="91452" marT="54000" marB="54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6530">
                <a:tc>
                  <a:txBody>
                    <a:bodyPr/>
                    <a:lstStyle/>
                    <a:p>
                      <a:pPr marL="0" marR="0" indent="0" algn="l" defTabSz="9144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ask, Feature </a:t>
                      </a:r>
                      <a:r>
                        <a:rPr lang="de-DE" sz="1500" cap="none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r</a:t>
                      </a: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Milestone</a:t>
                      </a:r>
                    </a:p>
                  </a:txBody>
                  <a:tcPr marL="91452" marR="91452" marT="54000" marB="54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6530">
                <a:tc>
                  <a:txBody>
                    <a:bodyPr/>
                    <a:lstStyle/>
                    <a:p>
                      <a:pPr marL="0" marR="0" indent="0" algn="l" defTabSz="9144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ask, Feature </a:t>
                      </a:r>
                      <a:r>
                        <a:rPr lang="de-DE" sz="1500" cap="none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r</a:t>
                      </a: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Milestone</a:t>
                      </a:r>
                    </a:p>
                  </a:txBody>
                  <a:tcPr marL="91452" marR="91452" marT="54000" marB="54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6530">
                <a:tc>
                  <a:txBody>
                    <a:bodyPr/>
                    <a:lstStyle/>
                    <a:p>
                      <a:pPr marL="0" marR="0" indent="0" algn="l" defTabSz="9144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ask, Feature </a:t>
                      </a:r>
                      <a:r>
                        <a:rPr lang="de-DE" sz="1500" cap="none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r</a:t>
                      </a: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Milestone</a:t>
                      </a:r>
                    </a:p>
                  </a:txBody>
                  <a:tcPr marL="91452" marR="91452" marT="54000" marB="54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66530">
                <a:tc>
                  <a:txBody>
                    <a:bodyPr/>
                    <a:lstStyle/>
                    <a:p>
                      <a:pPr marL="0" marR="0" indent="0" algn="l" defTabSz="9144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ask, Feature </a:t>
                      </a:r>
                      <a:r>
                        <a:rPr lang="de-DE" sz="1500" cap="none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r</a:t>
                      </a: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Milestone</a:t>
                      </a:r>
                    </a:p>
                  </a:txBody>
                  <a:tcPr marL="91452" marR="91452" marT="54000" marB="54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66530">
                <a:tc>
                  <a:txBody>
                    <a:bodyPr/>
                    <a:lstStyle/>
                    <a:p>
                      <a:pPr marL="0" marR="0" indent="0" algn="l" defTabSz="9144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ask, Feature </a:t>
                      </a:r>
                      <a:r>
                        <a:rPr lang="de-DE" sz="1500" cap="none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r</a:t>
                      </a: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Milestone</a:t>
                      </a:r>
                    </a:p>
                  </a:txBody>
                  <a:tcPr marL="91452" marR="91452" marT="54000" marB="54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66530">
                <a:tc>
                  <a:txBody>
                    <a:bodyPr/>
                    <a:lstStyle/>
                    <a:p>
                      <a:pPr marL="0" marR="0" indent="0" algn="l" defTabSz="9144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ask, Feature </a:t>
                      </a:r>
                      <a:r>
                        <a:rPr lang="de-DE" sz="1500" cap="none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or</a:t>
                      </a:r>
                      <a:r>
                        <a:rPr lang="de-DE" sz="1500" cap="none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Milestone</a:t>
                      </a:r>
                    </a:p>
                  </a:txBody>
                  <a:tcPr marL="91452" marR="91452" marT="54000" marB="54000" anchor="ctr"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600" cap="none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52" marR="91452" marT="54000" marB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75" name="Oval 4"/>
          <p:cNvSpPr>
            <a:spLocks noChangeAspect="1" noChangeArrowheads="1"/>
          </p:cNvSpPr>
          <p:nvPr/>
        </p:nvSpPr>
        <p:spPr bwMode="gray">
          <a:xfrm>
            <a:off x="4566587" y="2882631"/>
            <a:ext cx="216028" cy="216000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Arc 5"/>
          <p:cNvSpPr>
            <a:spLocks noChangeAspect="1"/>
          </p:cNvSpPr>
          <p:nvPr/>
        </p:nvSpPr>
        <p:spPr bwMode="gray">
          <a:xfrm>
            <a:off x="4674121" y="2882631"/>
            <a:ext cx="108490" cy="1084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Oval 7"/>
          <p:cNvSpPr>
            <a:spLocks noChangeAspect="1" noChangeArrowheads="1"/>
          </p:cNvSpPr>
          <p:nvPr/>
        </p:nvSpPr>
        <p:spPr bwMode="gray">
          <a:xfrm>
            <a:off x="4566585" y="2517336"/>
            <a:ext cx="216028" cy="216000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Arc 8"/>
          <p:cNvSpPr>
            <a:spLocks noChangeAspect="1"/>
          </p:cNvSpPr>
          <p:nvPr/>
        </p:nvSpPr>
        <p:spPr bwMode="gray">
          <a:xfrm>
            <a:off x="4674121" y="2517336"/>
            <a:ext cx="108490" cy="216000"/>
          </a:xfrm>
          <a:custGeom>
            <a:avLst/>
            <a:gdLst>
              <a:gd name="G0" fmla="+- 168 0 0"/>
              <a:gd name="G1" fmla="+- 21600 0 0"/>
              <a:gd name="G2" fmla="+- 21600 0 0"/>
              <a:gd name="T0" fmla="*/ 168 w 21768"/>
              <a:gd name="T1" fmla="*/ 0 h 43200"/>
              <a:gd name="T2" fmla="*/ 0 w 21768"/>
              <a:gd name="T3" fmla="*/ 43199 h 43200"/>
              <a:gd name="T4" fmla="*/ 168 w 21768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68" h="43200" fill="none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</a:path>
              <a:path w="21768" h="43200" stroke="0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  <a:lnTo>
                  <a:pt x="168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Oval 9"/>
          <p:cNvSpPr>
            <a:spLocks noChangeArrowheads="1"/>
          </p:cNvSpPr>
          <p:nvPr/>
        </p:nvSpPr>
        <p:spPr bwMode="gray">
          <a:xfrm>
            <a:off x="4566583" y="3247926"/>
            <a:ext cx="216028" cy="216000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81" name="Oval 10"/>
          <p:cNvSpPr>
            <a:spLocks noChangeArrowheads="1"/>
          </p:cNvSpPr>
          <p:nvPr/>
        </p:nvSpPr>
        <p:spPr bwMode="gray">
          <a:xfrm>
            <a:off x="4566583" y="1786746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Oval 12"/>
          <p:cNvSpPr>
            <a:spLocks noChangeAspect="1" noChangeArrowheads="1"/>
          </p:cNvSpPr>
          <p:nvPr/>
        </p:nvSpPr>
        <p:spPr bwMode="gray">
          <a:xfrm>
            <a:off x="4566583" y="2152041"/>
            <a:ext cx="214142" cy="214114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Arc 13"/>
          <p:cNvSpPr>
            <a:spLocks noChangeAspect="1"/>
          </p:cNvSpPr>
          <p:nvPr/>
        </p:nvSpPr>
        <p:spPr bwMode="gray">
          <a:xfrm>
            <a:off x="4566583" y="2152041"/>
            <a:ext cx="216028" cy="216000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Oval 10"/>
          <p:cNvSpPr>
            <a:spLocks noChangeArrowheads="1"/>
          </p:cNvSpPr>
          <p:nvPr/>
        </p:nvSpPr>
        <p:spPr bwMode="gray">
          <a:xfrm>
            <a:off x="4566583" y="3613221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Oval 4"/>
          <p:cNvSpPr>
            <a:spLocks noChangeAspect="1" noChangeArrowheads="1"/>
          </p:cNvSpPr>
          <p:nvPr/>
        </p:nvSpPr>
        <p:spPr bwMode="gray">
          <a:xfrm>
            <a:off x="4566585" y="4709106"/>
            <a:ext cx="216028" cy="216000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Arc 5"/>
          <p:cNvSpPr>
            <a:spLocks noChangeAspect="1"/>
          </p:cNvSpPr>
          <p:nvPr/>
        </p:nvSpPr>
        <p:spPr bwMode="gray">
          <a:xfrm>
            <a:off x="4674121" y="4709106"/>
            <a:ext cx="108490" cy="1084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Oval 7"/>
          <p:cNvSpPr>
            <a:spLocks noChangeAspect="1" noChangeArrowheads="1"/>
          </p:cNvSpPr>
          <p:nvPr/>
        </p:nvSpPr>
        <p:spPr bwMode="gray">
          <a:xfrm>
            <a:off x="4566585" y="4343811"/>
            <a:ext cx="216028" cy="216000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Arc 8"/>
          <p:cNvSpPr>
            <a:spLocks noChangeAspect="1"/>
          </p:cNvSpPr>
          <p:nvPr/>
        </p:nvSpPr>
        <p:spPr bwMode="gray">
          <a:xfrm>
            <a:off x="4674121" y="4343811"/>
            <a:ext cx="108490" cy="216000"/>
          </a:xfrm>
          <a:custGeom>
            <a:avLst/>
            <a:gdLst>
              <a:gd name="G0" fmla="+- 168 0 0"/>
              <a:gd name="G1" fmla="+- 21600 0 0"/>
              <a:gd name="G2" fmla="+- 21600 0 0"/>
              <a:gd name="T0" fmla="*/ 168 w 21768"/>
              <a:gd name="T1" fmla="*/ 0 h 43200"/>
              <a:gd name="T2" fmla="*/ 0 w 21768"/>
              <a:gd name="T3" fmla="*/ 43199 h 43200"/>
              <a:gd name="T4" fmla="*/ 168 w 21768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68" h="43200" fill="none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</a:path>
              <a:path w="21768" h="43200" stroke="0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  <a:lnTo>
                  <a:pt x="168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Oval 12"/>
          <p:cNvSpPr>
            <a:spLocks noChangeAspect="1" noChangeArrowheads="1"/>
          </p:cNvSpPr>
          <p:nvPr/>
        </p:nvSpPr>
        <p:spPr bwMode="gray">
          <a:xfrm>
            <a:off x="4566583" y="3978516"/>
            <a:ext cx="214142" cy="214114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Arc 13"/>
          <p:cNvSpPr>
            <a:spLocks noChangeAspect="1"/>
          </p:cNvSpPr>
          <p:nvPr/>
        </p:nvSpPr>
        <p:spPr bwMode="gray">
          <a:xfrm>
            <a:off x="4566583" y="3978516"/>
            <a:ext cx="216028" cy="216000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Oval 10"/>
          <p:cNvSpPr>
            <a:spLocks noChangeArrowheads="1"/>
          </p:cNvSpPr>
          <p:nvPr/>
        </p:nvSpPr>
        <p:spPr bwMode="gray">
          <a:xfrm>
            <a:off x="4566583" y="5074398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Oval 10"/>
          <p:cNvSpPr>
            <a:spLocks noChangeArrowheads="1"/>
          </p:cNvSpPr>
          <p:nvPr/>
        </p:nvSpPr>
        <p:spPr bwMode="gray">
          <a:xfrm>
            <a:off x="6278034" y="1786746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Oval 9"/>
          <p:cNvSpPr>
            <a:spLocks noChangeArrowheads="1"/>
          </p:cNvSpPr>
          <p:nvPr/>
        </p:nvSpPr>
        <p:spPr bwMode="gray">
          <a:xfrm>
            <a:off x="6278034" y="3247926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97" name="Oval 7"/>
          <p:cNvSpPr>
            <a:spLocks noChangeAspect="1" noChangeArrowheads="1"/>
          </p:cNvSpPr>
          <p:nvPr/>
        </p:nvSpPr>
        <p:spPr bwMode="gray">
          <a:xfrm>
            <a:off x="6278037" y="2517336"/>
            <a:ext cx="216028" cy="216000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Arc 8"/>
          <p:cNvSpPr>
            <a:spLocks noChangeAspect="1"/>
          </p:cNvSpPr>
          <p:nvPr/>
        </p:nvSpPr>
        <p:spPr bwMode="gray">
          <a:xfrm>
            <a:off x="6385572" y="2517336"/>
            <a:ext cx="108490" cy="216000"/>
          </a:xfrm>
          <a:custGeom>
            <a:avLst/>
            <a:gdLst>
              <a:gd name="G0" fmla="+- 168 0 0"/>
              <a:gd name="G1" fmla="+- 21600 0 0"/>
              <a:gd name="G2" fmla="+- 21600 0 0"/>
              <a:gd name="T0" fmla="*/ 168 w 21768"/>
              <a:gd name="T1" fmla="*/ 0 h 43200"/>
              <a:gd name="T2" fmla="*/ 0 w 21768"/>
              <a:gd name="T3" fmla="*/ 43199 h 43200"/>
              <a:gd name="T4" fmla="*/ 168 w 21768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68" h="43200" fill="none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</a:path>
              <a:path w="21768" h="43200" stroke="0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  <a:lnTo>
                  <a:pt x="168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Oval 12"/>
          <p:cNvSpPr>
            <a:spLocks noChangeAspect="1" noChangeArrowheads="1"/>
          </p:cNvSpPr>
          <p:nvPr/>
        </p:nvSpPr>
        <p:spPr bwMode="gray">
          <a:xfrm>
            <a:off x="6278034" y="2152041"/>
            <a:ext cx="214142" cy="214114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Arc 13"/>
          <p:cNvSpPr>
            <a:spLocks noChangeAspect="1"/>
          </p:cNvSpPr>
          <p:nvPr/>
        </p:nvSpPr>
        <p:spPr bwMode="gray">
          <a:xfrm>
            <a:off x="6278034" y="2152041"/>
            <a:ext cx="216028" cy="216000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Oval 4"/>
          <p:cNvSpPr>
            <a:spLocks noChangeAspect="1" noChangeArrowheads="1"/>
          </p:cNvSpPr>
          <p:nvPr/>
        </p:nvSpPr>
        <p:spPr bwMode="gray">
          <a:xfrm>
            <a:off x="6278037" y="2882631"/>
            <a:ext cx="216028" cy="216000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Arc 5"/>
          <p:cNvSpPr>
            <a:spLocks noChangeAspect="1"/>
          </p:cNvSpPr>
          <p:nvPr/>
        </p:nvSpPr>
        <p:spPr bwMode="gray">
          <a:xfrm>
            <a:off x="6385572" y="2882631"/>
            <a:ext cx="108490" cy="1084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Oval 10"/>
          <p:cNvSpPr>
            <a:spLocks noChangeArrowheads="1"/>
          </p:cNvSpPr>
          <p:nvPr/>
        </p:nvSpPr>
        <p:spPr bwMode="gray">
          <a:xfrm>
            <a:off x="6278034" y="3613221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Oval 7"/>
          <p:cNvSpPr>
            <a:spLocks noChangeAspect="1" noChangeArrowheads="1"/>
          </p:cNvSpPr>
          <p:nvPr/>
        </p:nvSpPr>
        <p:spPr bwMode="gray">
          <a:xfrm>
            <a:off x="6278037" y="4343811"/>
            <a:ext cx="216028" cy="216000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Arc 8"/>
          <p:cNvSpPr>
            <a:spLocks noChangeAspect="1"/>
          </p:cNvSpPr>
          <p:nvPr/>
        </p:nvSpPr>
        <p:spPr bwMode="gray">
          <a:xfrm>
            <a:off x="6385572" y="4343811"/>
            <a:ext cx="108490" cy="216000"/>
          </a:xfrm>
          <a:custGeom>
            <a:avLst/>
            <a:gdLst>
              <a:gd name="G0" fmla="+- 168 0 0"/>
              <a:gd name="G1" fmla="+- 21600 0 0"/>
              <a:gd name="G2" fmla="+- 21600 0 0"/>
              <a:gd name="T0" fmla="*/ 168 w 21768"/>
              <a:gd name="T1" fmla="*/ 0 h 43200"/>
              <a:gd name="T2" fmla="*/ 0 w 21768"/>
              <a:gd name="T3" fmla="*/ 43199 h 43200"/>
              <a:gd name="T4" fmla="*/ 168 w 21768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68" h="43200" fill="none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</a:path>
              <a:path w="21768" h="43200" stroke="0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  <a:lnTo>
                  <a:pt x="168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Oval 12"/>
          <p:cNvSpPr>
            <a:spLocks noChangeAspect="1" noChangeArrowheads="1"/>
          </p:cNvSpPr>
          <p:nvPr/>
        </p:nvSpPr>
        <p:spPr bwMode="gray">
          <a:xfrm>
            <a:off x="6278034" y="3978516"/>
            <a:ext cx="214142" cy="214114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Arc 13"/>
          <p:cNvSpPr>
            <a:spLocks noChangeAspect="1"/>
          </p:cNvSpPr>
          <p:nvPr/>
        </p:nvSpPr>
        <p:spPr bwMode="gray">
          <a:xfrm>
            <a:off x="6278034" y="3978516"/>
            <a:ext cx="216028" cy="216000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Oval 4"/>
          <p:cNvSpPr>
            <a:spLocks noChangeAspect="1" noChangeArrowheads="1"/>
          </p:cNvSpPr>
          <p:nvPr/>
        </p:nvSpPr>
        <p:spPr bwMode="gray">
          <a:xfrm>
            <a:off x="6278037" y="4709106"/>
            <a:ext cx="216028" cy="216000"/>
          </a:xfrm>
          <a:prstGeom prst="ellipse">
            <a:avLst/>
          </a:prstGeom>
          <a:solidFill>
            <a:schemeClr val="accent2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Arc 5"/>
          <p:cNvSpPr>
            <a:spLocks noChangeAspect="1"/>
          </p:cNvSpPr>
          <p:nvPr/>
        </p:nvSpPr>
        <p:spPr bwMode="gray">
          <a:xfrm>
            <a:off x="6385572" y="4709106"/>
            <a:ext cx="108490" cy="1084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Oval 10"/>
          <p:cNvSpPr>
            <a:spLocks noChangeArrowheads="1"/>
          </p:cNvSpPr>
          <p:nvPr/>
        </p:nvSpPr>
        <p:spPr bwMode="gray">
          <a:xfrm>
            <a:off x="6278034" y="5074398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Oval 10"/>
          <p:cNvSpPr>
            <a:spLocks noChangeArrowheads="1"/>
          </p:cNvSpPr>
          <p:nvPr/>
        </p:nvSpPr>
        <p:spPr bwMode="gray">
          <a:xfrm>
            <a:off x="7989485" y="1786746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Oval 9"/>
          <p:cNvSpPr>
            <a:spLocks noChangeArrowheads="1"/>
          </p:cNvSpPr>
          <p:nvPr/>
        </p:nvSpPr>
        <p:spPr bwMode="gray">
          <a:xfrm>
            <a:off x="7989485" y="3247926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8" name="Oval 7"/>
          <p:cNvSpPr>
            <a:spLocks noChangeAspect="1" noChangeArrowheads="1"/>
          </p:cNvSpPr>
          <p:nvPr/>
        </p:nvSpPr>
        <p:spPr bwMode="gray">
          <a:xfrm>
            <a:off x="7989489" y="2517336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9" name="Arc 8"/>
          <p:cNvSpPr>
            <a:spLocks noChangeAspect="1"/>
          </p:cNvSpPr>
          <p:nvPr/>
        </p:nvSpPr>
        <p:spPr bwMode="gray">
          <a:xfrm>
            <a:off x="8097023" y="2517336"/>
            <a:ext cx="108490" cy="216000"/>
          </a:xfrm>
          <a:custGeom>
            <a:avLst/>
            <a:gdLst>
              <a:gd name="G0" fmla="+- 168 0 0"/>
              <a:gd name="G1" fmla="+- 21600 0 0"/>
              <a:gd name="G2" fmla="+- 21600 0 0"/>
              <a:gd name="T0" fmla="*/ 168 w 21768"/>
              <a:gd name="T1" fmla="*/ 0 h 43200"/>
              <a:gd name="T2" fmla="*/ 0 w 21768"/>
              <a:gd name="T3" fmla="*/ 43199 h 43200"/>
              <a:gd name="T4" fmla="*/ 168 w 21768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68" h="43200" fill="none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</a:path>
              <a:path w="21768" h="43200" stroke="0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  <a:lnTo>
                  <a:pt x="168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Oval 12"/>
          <p:cNvSpPr>
            <a:spLocks noChangeAspect="1" noChangeArrowheads="1"/>
          </p:cNvSpPr>
          <p:nvPr/>
        </p:nvSpPr>
        <p:spPr bwMode="gray">
          <a:xfrm>
            <a:off x="7989485" y="2152041"/>
            <a:ext cx="214142" cy="214114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22" name="Arc 13"/>
          <p:cNvSpPr>
            <a:spLocks noChangeAspect="1"/>
          </p:cNvSpPr>
          <p:nvPr/>
        </p:nvSpPr>
        <p:spPr bwMode="gray">
          <a:xfrm>
            <a:off x="7989485" y="2152041"/>
            <a:ext cx="216028" cy="216000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Oval 4"/>
          <p:cNvSpPr>
            <a:spLocks noChangeAspect="1" noChangeArrowheads="1"/>
          </p:cNvSpPr>
          <p:nvPr/>
        </p:nvSpPr>
        <p:spPr bwMode="gray">
          <a:xfrm>
            <a:off x="7989489" y="2882631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25" name="Arc 5"/>
          <p:cNvSpPr>
            <a:spLocks noChangeAspect="1"/>
          </p:cNvSpPr>
          <p:nvPr/>
        </p:nvSpPr>
        <p:spPr bwMode="gray">
          <a:xfrm>
            <a:off x="8097023" y="2882631"/>
            <a:ext cx="108490" cy="1084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Oval 10"/>
          <p:cNvSpPr>
            <a:spLocks noChangeArrowheads="1"/>
          </p:cNvSpPr>
          <p:nvPr/>
        </p:nvSpPr>
        <p:spPr bwMode="gray">
          <a:xfrm>
            <a:off x="7989485" y="3613221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Oval 7"/>
          <p:cNvSpPr>
            <a:spLocks noChangeAspect="1" noChangeArrowheads="1"/>
          </p:cNvSpPr>
          <p:nvPr/>
        </p:nvSpPr>
        <p:spPr bwMode="gray">
          <a:xfrm>
            <a:off x="7989489" y="4343811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29" name="Arc 8"/>
          <p:cNvSpPr>
            <a:spLocks noChangeAspect="1"/>
          </p:cNvSpPr>
          <p:nvPr/>
        </p:nvSpPr>
        <p:spPr bwMode="gray">
          <a:xfrm>
            <a:off x="8097023" y="4343811"/>
            <a:ext cx="108490" cy="216000"/>
          </a:xfrm>
          <a:custGeom>
            <a:avLst/>
            <a:gdLst>
              <a:gd name="G0" fmla="+- 168 0 0"/>
              <a:gd name="G1" fmla="+- 21600 0 0"/>
              <a:gd name="G2" fmla="+- 21600 0 0"/>
              <a:gd name="T0" fmla="*/ 168 w 21768"/>
              <a:gd name="T1" fmla="*/ 0 h 43200"/>
              <a:gd name="T2" fmla="*/ 0 w 21768"/>
              <a:gd name="T3" fmla="*/ 43199 h 43200"/>
              <a:gd name="T4" fmla="*/ 168 w 21768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68" h="43200" fill="none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</a:path>
              <a:path w="21768" h="43200" stroke="0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  <a:lnTo>
                  <a:pt x="168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Oval 12"/>
          <p:cNvSpPr>
            <a:spLocks noChangeAspect="1" noChangeArrowheads="1"/>
          </p:cNvSpPr>
          <p:nvPr/>
        </p:nvSpPr>
        <p:spPr bwMode="gray">
          <a:xfrm>
            <a:off x="7989485" y="3978516"/>
            <a:ext cx="214142" cy="214114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32" name="Arc 13"/>
          <p:cNvSpPr>
            <a:spLocks noChangeAspect="1"/>
          </p:cNvSpPr>
          <p:nvPr/>
        </p:nvSpPr>
        <p:spPr bwMode="gray">
          <a:xfrm>
            <a:off x="7989485" y="3978516"/>
            <a:ext cx="216028" cy="216000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Oval 4"/>
          <p:cNvSpPr>
            <a:spLocks noChangeAspect="1" noChangeArrowheads="1"/>
          </p:cNvSpPr>
          <p:nvPr/>
        </p:nvSpPr>
        <p:spPr bwMode="gray">
          <a:xfrm>
            <a:off x="7989489" y="4709106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35" name="Arc 5"/>
          <p:cNvSpPr>
            <a:spLocks noChangeAspect="1"/>
          </p:cNvSpPr>
          <p:nvPr/>
        </p:nvSpPr>
        <p:spPr bwMode="gray">
          <a:xfrm>
            <a:off x="8097023" y="4709106"/>
            <a:ext cx="108490" cy="1084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Oval 10"/>
          <p:cNvSpPr>
            <a:spLocks noChangeArrowheads="1"/>
          </p:cNvSpPr>
          <p:nvPr/>
        </p:nvSpPr>
        <p:spPr bwMode="gray">
          <a:xfrm>
            <a:off x="7989485" y="5074398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Oval 10"/>
          <p:cNvSpPr>
            <a:spLocks noChangeArrowheads="1"/>
          </p:cNvSpPr>
          <p:nvPr/>
        </p:nvSpPr>
        <p:spPr bwMode="gray">
          <a:xfrm>
            <a:off x="9700936" y="1786746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Oval 9"/>
          <p:cNvSpPr>
            <a:spLocks noChangeArrowheads="1"/>
          </p:cNvSpPr>
          <p:nvPr/>
        </p:nvSpPr>
        <p:spPr bwMode="gray">
          <a:xfrm>
            <a:off x="9700936" y="3247926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39" name="Oval 7"/>
          <p:cNvSpPr>
            <a:spLocks noChangeAspect="1" noChangeArrowheads="1"/>
          </p:cNvSpPr>
          <p:nvPr/>
        </p:nvSpPr>
        <p:spPr bwMode="gray">
          <a:xfrm>
            <a:off x="9700941" y="2517336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40" name="Arc 8"/>
          <p:cNvSpPr>
            <a:spLocks noChangeAspect="1"/>
          </p:cNvSpPr>
          <p:nvPr/>
        </p:nvSpPr>
        <p:spPr bwMode="gray">
          <a:xfrm>
            <a:off x="9808474" y="2517336"/>
            <a:ext cx="108490" cy="216000"/>
          </a:xfrm>
          <a:custGeom>
            <a:avLst/>
            <a:gdLst>
              <a:gd name="G0" fmla="+- 168 0 0"/>
              <a:gd name="G1" fmla="+- 21600 0 0"/>
              <a:gd name="G2" fmla="+- 21600 0 0"/>
              <a:gd name="T0" fmla="*/ 168 w 21768"/>
              <a:gd name="T1" fmla="*/ 0 h 43200"/>
              <a:gd name="T2" fmla="*/ 0 w 21768"/>
              <a:gd name="T3" fmla="*/ 43199 h 43200"/>
              <a:gd name="T4" fmla="*/ 168 w 21768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68" h="43200" fill="none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</a:path>
              <a:path w="21768" h="43200" stroke="0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  <a:lnTo>
                  <a:pt x="168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Oval 12"/>
          <p:cNvSpPr>
            <a:spLocks noChangeAspect="1" noChangeArrowheads="1"/>
          </p:cNvSpPr>
          <p:nvPr/>
        </p:nvSpPr>
        <p:spPr bwMode="gray">
          <a:xfrm>
            <a:off x="9700936" y="2152041"/>
            <a:ext cx="214142" cy="214114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43" name="Arc 13"/>
          <p:cNvSpPr>
            <a:spLocks noChangeAspect="1"/>
          </p:cNvSpPr>
          <p:nvPr/>
        </p:nvSpPr>
        <p:spPr bwMode="gray">
          <a:xfrm>
            <a:off x="9700936" y="2152041"/>
            <a:ext cx="216028" cy="216000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Oval 4"/>
          <p:cNvSpPr>
            <a:spLocks noChangeAspect="1" noChangeArrowheads="1"/>
          </p:cNvSpPr>
          <p:nvPr/>
        </p:nvSpPr>
        <p:spPr bwMode="gray">
          <a:xfrm>
            <a:off x="9700941" y="2882631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46" name="Arc 5"/>
          <p:cNvSpPr>
            <a:spLocks noChangeAspect="1"/>
          </p:cNvSpPr>
          <p:nvPr/>
        </p:nvSpPr>
        <p:spPr bwMode="gray">
          <a:xfrm>
            <a:off x="9808474" y="2882631"/>
            <a:ext cx="108490" cy="1084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Oval 10"/>
          <p:cNvSpPr>
            <a:spLocks noChangeArrowheads="1"/>
          </p:cNvSpPr>
          <p:nvPr/>
        </p:nvSpPr>
        <p:spPr bwMode="gray">
          <a:xfrm>
            <a:off x="9700936" y="3613221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Oval 7"/>
          <p:cNvSpPr>
            <a:spLocks noChangeAspect="1" noChangeArrowheads="1"/>
          </p:cNvSpPr>
          <p:nvPr/>
        </p:nvSpPr>
        <p:spPr bwMode="gray">
          <a:xfrm>
            <a:off x="9700941" y="4343811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50" name="Arc 8"/>
          <p:cNvSpPr>
            <a:spLocks noChangeAspect="1"/>
          </p:cNvSpPr>
          <p:nvPr/>
        </p:nvSpPr>
        <p:spPr bwMode="gray">
          <a:xfrm>
            <a:off x="9808474" y="4343811"/>
            <a:ext cx="108490" cy="216000"/>
          </a:xfrm>
          <a:custGeom>
            <a:avLst/>
            <a:gdLst>
              <a:gd name="G0" fmla="+- 168 0 0"/>
              <a:gd name="G1" fmla="+- 21600 0 0"/>
              <a:gd name="G2" fmla="+- 21600 0 0"/>
              <a:gd name="T0" fmla="*/ 168 w 21768"/>
              <a:gd name="T1" fmla="*/ 0 h 43200"/>
              <a:gd name="T2" fmla="*/ 0 w 21768"/>
              <a:gd name="T3" fmla="*/ 43199 h 43200"/>
              <a:gd name="T4" fmla="*/ 168 w 21768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68" h="43200" fill="none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</a:path>
              <a:path w="21768" h="43200" stroke="0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  <a:lnTo>
                  <a:pt x="168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Oval 12"/>
          <p:cNvSpPr>
            <a:spLocks noChangeAspect="1" noChangeArrowheads="1"/>
          </p:cNvSpPr>
          <p:nvPr/>
        </p:nvSpPr>
        <p:spPr bwMode="gray">
          <a:xfrm>
            <a:off x="9700936" y="3978516"/>
            <a:ext cx="214142" cy="214114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53" name="Arc 13"/>
          <p:cNvSpPr>
            <a:spLocks noChangeAspect="1"/>
          </p:cNvSpPr>
          <p:nvPr/>
        </p:nvSpPr>
        <p:spPr bwMode="gray">
          <a:xfrm>
            <a:off x="9700936" y="3978516"/>
            <a:ext cx="216028" cy="216000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Oval 4"/>
          <p:cNvSpPr>
            <a:spLocks noChangeAspect="1" noChangeArrowheads="1"/>
          </p:cNvSpPr>
          <p:nvPr/>
        </p:nvSpPr>
        <p:spPr bwMode="gray">
          <a:xfrm>
            <a:off x="9700941" y="4709106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56" name="Arc 5"/>
          <p:cNvSpPr>
            <a:spLocks noChangeAspect="1"/>
          </p:cNvSpPr>
          <p:nvPr/>
        </p:nvSpPr>
        <p:spPr bwMode="gray">
          <a:xfrm>
            <a:off x="9808474" y="4709106"/>
            <a:ext cx="108490" cy="1084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1" name="Oval 10"/>
          <p:cNvSpPr>
            <a:spLocks noChangeArrowheads="1"/>
          </p:cNvSpPr>
          <p:nvPr/>
        </p:nvSpPr>
        <p:spPr bwMode="gray">
          <a:xfrm>
            <a:off x="9700936" y="5074398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Oval 10"/>
          <p:cNvSpPr>
            <a:spLocks noChangeArrowheads="1"/>
          </p:cNvSpPr>
          <p:nvPr/>
        </p:nvSpPr>
        <p:spPr bwMode="gray">
          <a:xfrm>
            <a:off x="11412388" y="1786746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Oval 9"/>
          <p:cNvSpPr>
            <a:spLocks noChangeArrowheads="1"/>
          </p:cNvSpPr>
          <p:nvPr/>
        </p:nvSpPr>
        <p:spPr bwMode="gray">
          <a:xfrm>
            <a:off x="11412388" y="3247926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60" name="Oval 7"/>
          <p:cNvSpPr>
            <a:spLocks noChangeAspect="1" noChangeArrowheads="1"/>
          </p:cNvSpPr>
          <p:nvPr/>
        </p:nvSpPr>
        <p:spPr bwMode="gray">
          <a:xfrm>
            <a:off x="11412394" y="2517336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Arc 8"/>
          <p:cNvSpPr>
            <a:spLocks noChangeAspect="1"/>
          </p:cNvSpPr>
          <p:nvPr/>
        </p:nvSpPr>
        <p:spPr bwMode="gray">
          <a:xfrm>
            <a:off x="11519926" y="2517336"/>
            <a:ext cx="108490" cy="216000"/>
          </a:xfrm>
          <a:custGeom>
            <a:avLst/>
            <a:gdLst>
              <a:gd name="G0" fmla="+- 168 0 0"/>
              <a:gd name="G1" fmla="+- 21600 0 0"/>
              <a:gd name="G2" fmla="+- 21600 0 0"/>
              <a:gd name="T0" fmla="*/ 168 w 21768"/>
              <a:gd name="T1" fmla="*/ 0 h 43200"/>
              <a:gd name="T2" fmla="*/ 0 w 21768"/>
              <a:gd name="T3" fmla="*/ 43199 h 43200"/>
              <a:gd name="T4" fmla="*/ 168 w 21768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68" h="43200" fill="none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</a:path>
              <a:path w="21768" h="43200" stroke="0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  <a:lnTo>
                  <a:pt x="168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Oval 12"/>
          <p:cNvSpPr>
            <a:spLocks noChangeAspect="1" noChangeArrowheads="1"/>
          </p:cNvSpPr>
          <p:nvPr/>
        </p:nvSpPr>
        <p:spPr bwMode="gray">
          <a:xfrm>
            <a:off x="11412388" y="2152041"/>
            <a:ext cx="214142" cy="214114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Arc 13"/>
          <p:cNvSpPr>
            <a:spLocks noChangeAspect="1"/>
          </p:cNvSpPr>
          <p:nvPr/>
        </p:nvSpPr>
        <p:spPr bwMode="gray">
          <a:xfrm>
            <a:off x="11412388" y="2152041"/>
            <a:ext cx="216028" cy="216000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Oval 4"/>
          <p:cNvSpPr>
            <a:spLocks noChangeAspect="1" noChangeArrowheads="1"/>
          </p:cNvSpPr>
          <p:nvPr/>
        </p:nvSpPr>
        <p:spPr bwMode="gray">
          <a:xfrm>
            <a:off x="11412394" y="2882631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Arc 5"/>
          <p:cNvSpPr>
            <a:spLocks noChangeAspect="1"/>
          </p:cNvSpPr>
          <p:nvPr/>
        </p:nvSpPr>
        <p:spPr bwMode="gray">
          <a:xfrm>
            <a:off x="11519926" y="2882631"/>
            <a:ext cx="108490" cy="1084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Oval 10"/>
          <p:cNvSpPr>
            <a:spLocks noChangeArrowheads="1"/>
          </p:cNvSpPr>
          <p:nvPr/>
        </p:nvSpPr>
        <p:spPr bwMode="gray">
          <a:xfrm>
            <a:off x="11412388" y="3613221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Oval 7"/>
          <p:cNvSpPr>
            <a:spLocks noChangeAspect="1" noChangeArrowheads="1"/>
          </p:cNvSpPr>
          <p:nvPr/>
        </p:nvSpPr>
        <p:spPr bwMode="gray">
          <a:xfrm>
            <a:off x="11412394" y="4343811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Arc 8"/>
          <p:cNvSpPr>
            <a:spLocks noChangeAspect="1"/>
          </p:cNvSpPr>
          <p:nvPr/>
        </p:nvSpPr>
        <p:spPr bwMode="gray">
          <a:xfrm>
            <a:off x="11519926" y="4343811"/>
            <a:ext cx="108490" cy="216000"/>
          </a:xfrm>
          <a:custGeom>
            <a:avLst/>
            <a:gdLst>
              <a:gd name="G0" fmla="+- 168 0 0"/>
              <a:gd name="G1" fmla="+- 21600 0 0"/>
              <a:gd name="G2" fmla="+- 21600 0 0"/>
              <a:gd name="T0" fmla="*/ 168 w 21768"/>
              <a:gd name="T1" fmla="*/ 0 h 43200"/>
              <a:gd name="T2" fmla="*/ 0 w 21768"/>
              <a:gd name="T3" fmla="*/ 43199 h 43200"/>
              <a:gd name="T4" fmla="*/ 168 w 21768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768" h="43200" fill="none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</a:path>
              <a:path w="21768" h="43200" stroke="0" extrusionOk="0">
                <a:moveTo>
                  <a:pt x="167" y="0"/>
                </a:moveTo>
                <a:cubicBezTo>
                  <a:pt x="12097" y="0"/>
                  <a:pt x="21768" y="9670"/>
                  <a:pt x="21768" y="21600"/>
                </a:cubicBezTo>
                <a:cubicBezTo>
                  <a:pt x="21768" y="33529"/>
                  <a:pt x="12097" y="43200"/>
                  <a:pt x="168" y="43200"/>
                </a:cubicBezTo>
                <a:cubicBezTo>
                  <a:pt x="111" y="43200"/>
                  <a:pt x="55" y="43199"/>
                  <a:pt x="-1" y="43199"/>
                </a:cubicBezTo>
                <a:lnTo>
                  <a:pt x="168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Oval 12"/>
          <p:cNvSpPr>
            <a:spLocks noChangeAspect="1" noChangeArrowheads="1"/>
          </p:cNvSpPr>
          <p:nvPr/>
        </p:nvSpPr>
        <p:spPr bwMode="gray">
          <a:xfrm>
            <a:off x="11412388" y="3978516"/>
            <a:ext cx="214142" cy="214114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Arc 13"/>
          <p:cNvSpPr>
            <a:spLocks noChangeAspect="1"/>
          </p:cNvSpPr>
          <p:nvPr/>
        </p:nvSpPr>
        <p:spPr bwMode="gray">
          <a:xfrm>
            <a:off x="11412388" y="3978516"/>
            <a:ext cx="216028" cy="216000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21600 w 43200"/>
              <a:gd name="T1" fmla="*/ 0 h 43200"/>
              <a:gd name="T2" fmla="*/ 0 w 43200"/>
              <a:gd name="T3" fmla="*/ 21600 h 43200"/>
              <a:gd name="T4" fmla="*/ 21600 w 43200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Oval 4"/>
          <p:cNvSpPr>
            <a:spLocks noChangeAspect="1" noChangeArrowheads="1"/>
          </p:cNvSpPr>
          <p:nvPr/>
        </p:nvSpPr>
        <p:spPr bwMode="gray">
          <a:xfrm>
            <a:off x="11412394" y="4709106"/>
            <a:ext cx="216028" cy="216000"/>
          </a:xfrm>
          <a:prstGeom prst="ellipse">
            <a:avLst/>
          </a:prstGeom>
          <a:solidFill>
            <a:srgbClr val="B3E900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2000" tIns="36000" rIns="36000" bIns="3600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7" name="Arc 5"/>
          <p:cNvSpPr>
            <a:spLocks noChangeAspect="1"/>
          </p:cNvSpPr>
          <p:nvPr/>
        </p:nvSpPr>
        <p:spPr bwMode="gray">
          <a:xfrm>
            <a:off x="11519926" y="4709106"/>
            <a:ext cx="108490" cy="108476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Oval 10"/>
          <p:cNvSpPr>
            <a:spLocks noChangeArrowheads="1"/>
          </p:cNvSpPr>
          <p:nvPr/>
        </p:nvSpPr>
        <p:spPr bwMode="gray">
          <a:xfrm>
            <a:off x="11412388" y="5074398"/>
            <a:ext cx="216028" cy="216000"/>
          </a:xfrm>
          <a:prstGeom prst="ellipse">
            <a:avLst/>
          </a:prstGeom>
          <a:solidFill>
            <a:schemeClr val="accent1"/>
          </a:solidFill>
          <a:ln w="12700" algn="ctr">
            <a:noFill/>
            <a:round/>
            <a:headEnd/>
            <a:tailEnd/>
          </a:ln>
          <a:effectLst/>
        </p:spPr>
        <p:txBody>
          <a:bodyPr vert="horz" wrap="square" lIns="71988" tIns="35998" rIns="35998" bIns="3599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79823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duct Life Cyc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39" name="_color1"/>
          <p:cNvSpPr>
            <a:spLocks/>
          </p:cNvSpPr>
          <p:nvPr/>
        </p:nvSpPr>
        <p:spPr bwMode="gray">
          <a:xfrm>
            <a:off x="2191218" y="2749822"/>
            <a:ext cx="9344744" cy="2950064"/>
          </a:xfrm>
          <a:custGeom>
            <a:avLst/>
            <a:gdLst>
              <a:gd name="connsiteX0" fmla="*/ 0 w 10000"/>
              <a:gd name="connsiteY0" fmla="*/ 9598 h 9598"/>
              <a:gd name="connsiteX1" fmla="*/ 5477 w 10000"/>
              <a:gd name="connsiteY1" fmla="*/ 73 h 9598"/>
              <a:gd name="connsiteX2" fmla="*/ 10000 w 10000"/>
              <a:gd name="connsiteY2" fmla="*/ 9598 h 9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9598">
                <a:moveTo>
                  <a:pt x="0" y="9598"/>
                </a:moveTo>
                <a:cubicBezTo>
                  <a:pt x="3198" y="6327"/>
                  <a:pt x="3887" y="0"/>
                  <a:pt x="5477" y="73"/>
                </a:cubicBezTo>
                <a:cubicBezTo>
                  <a:pt x="7067" y="146"/>
                  <a:pt x="9870" y="9010"/>
                  <a:pt x="10000" y="9598"/>
                </a:cubicBezTo>
              </a:path>
            </a:pathLst>
          </a:custGeom>
          <a:noFill/>
          <a:ln w="15875">
            <a:gradFill flip="none" rotWithShape="1">
              <a:gsLst>
                <a:gs pos="50000">
                  <a:schemeClr val="accent4"/>
                </a:gs>
                <a:gs pos="0">
                  <a:srgbClr val="09244C"/>
                </a:gs>
                <a:gs pos="100000">
                  <a:schemeClr val="accent2"/>
                </a:gs>
              </a:gsLst>
              <a:lin ang="0" scaled="1"/>
              <a:tileRect/>
            </a:gradFill>
            <a:prstDash val="dash"/>
            <a:round/>
            <a:headEnd type="none"/>
            <a:tailEnd type="none" w="med" len="med"/>
          </a:ln>
          <a:effectLst/>
        </p:spPr>
        <p:txBody>
          <a:bodyPr/>
          <a:lstStyle/>
          <a:p>
            <a:pPr defTabSz="609507">
              <a:lnSpc>
                <a:spcPct val="95000"/>
              </a:lnSpc>
              <a:spcAft>
                <a:spcPts val="935"/>
              </a:spcAft>
            </a:pPr>
            <a:endParaRPr lang="en-US" sz="2400" noProof="1">
              <a:cs typeface="Arial" panose="020B0604020202020204" pitchFamily="34" charset="0"/>
            </a:endParaRPr>
          </a:p>
        </p:txBody>
      </p:sp>
      <p:sp>
        <p:nvSpPr>
          <p:cNvPr id="49" name="Line 138" descr="© INSCALE GmbH, 26.05.2010&#10;http://www.presentationload.com/"/>
          <p:cNvSpPr>
            <a:spLocks noChangeShapeType="1"/>
          </p:cNvSpPr>
          <p:nvPr/>
        </p:nvSpPr>
        <p:spPr bwMode="gray">
          <a:xfrm rot="16200000">
            <a:off x="9257681" y="3922181"/>
            <a:ext cx="4592841" cy="0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  <a:round/>
            <a:headEnd/>
            <a:tailEnd type="none"/>
          </a:ln>
          <a:effectLst/>
        </p:spPr>
        <p:txBody>
          <a:bodyPr wrap="none" anchor="ctr"/>
          <a:lstStyle/>
          <a:p>
            <a:pPr defTabSz="609507">
              <a:lnSpc>
                <a:spcPct val="95000"/>
              </a:lnSpc>
              <a:spcAft>
                <a:spcPts val="935"/>
              </a:spcAft>
            </a:pPr>
            <a:endParaRPr lang="en-US" sz="2400" noProof="1">
              <a:cs typeface="Arial" panose="020B060402020202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2187497" y="1625760"/>
            <a:ext cx="7790387" cy="4613115"/>
            <a:chOff x="2187497" y="1454126"/>
            <a:chExt cx="7790387" cy="4784749"/>
          </a:xfrm>
        </p:grpSpPr>
        <p:sp>
          <p:nvSpPr>
            <p:cNvPr id="40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2927537" y="3862760"/>
              <a:ext cx="4752230" cy="0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609507">
                <a:lnSpc>
                  <a:spcPct val="95000"/>
                </a:lnSpc>
                <a:spcAft>
                  <a:spcPts val="935"/>
                </a:spcAft>
              </a:pPr>
              <a:endParaRPr lang="en-US" sz="2400" noProof="1">
                <a:cs typeface="Arial" panose="020B0604020202020204" pitchFamily="34" charset="0"/>
              </a:endParaRPr>
            </a:p>
          </p:txBody>
        </p:sp>
        <p:sp>
          <p:nvSpPr>
            <p:cNvPr id="41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4469355" y="3846501"/>
              <a:ext cx="4784749" cy="0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609507">
                <a:lnSpc>
                  <a:spcPct val="95000"/>
                </a:lnSpc>
                <a:spcAft>
                  <a:spcPts val="935"/>
                </a:spcAft>
              </a:pPr>
              <a:endParaRPr lang="en-US" sz="2400" noProof="1">
                <a:cs typeface="Arial" panose="020B0604020202020204" pitchFamily="34" charset="0"/>
              </a:endParaRPr>
            </a:p>
          </p:txBody>
        </p:sp>
        <p:sp>
          <p:nvSpPr>
            <p:cNvPr id="42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6027431" y="3846501"/>
              <a:ext cx="4784749" cy="0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609507">
                <a:lnSpc>
                  <a:spcPct val="95000"/>
                </a:lnSpc>
                <a:spcAft>
                  <a:spcPts val="935"/>
                </a:spcAft>
              </a:pPr>
              <a:endParaRPr lang="en-US" sz="2400" noProof="1">
                <a:cs typeface="Arial" panose="020B0604020202020204" pitchFamily="34" charset="0"/>
              </a:endParaRPr>
            </a:p>
          </p:txBody>
        </p:sp>
        <p:sp>
          <p:nvSpPr>
            <p:cNvPr id="43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7585509" y="3846501"/>
              <a:ext cx="4784749" cy="0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609507">
                <a:lnSpc>
                  <a:spcPct val="95000"/>
                </a:lnSpc>
                <a:spcAft>
                  <a:spcPts val="935"/>
                </a:spcAft>
              </a:pPr>
              <a:endParaRPr lang="en-US" sz="2400" noProof="1">
                <a:cs typeface="Arial" panose="020B0604020202020204" pitchFamily="34" charset="0"/>
              </a:endParaRPr>
            </a:p>
          </p:txBody>
        </p:sp>
        <p:sp>
          <p:nvSpPr>
            <p:cNvPr id="53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-204878" y="3846501"/>
              <a:ext cx="4784749" cy="0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609507">
                <a:lnSpc>
                  <a:spcPct val="95000"/>
                </a:lnSpc>
                <a:spcAft>
                  <a:spcPts val="935"/>
                </a:spcAft>
              </a:pPr>
              <a:endParaRPr lang="en-US" sz="2400" noProof="1">
                <a:cs typeface="Arial" panose="020B0604020202020204" pitchFamily="34" charset="0"/>
              </a:endParaRPr>
            </a:p>
          </p:txBody>
        </p:sp>
        <p:sp>
          <p:nvSpPr>
            <p:cNvPr id="54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1353200" y="3846501"/>
              <a:ext cx="4784749" cy="0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609507">
                <a:lnSpc>
                  <a:spcPct val="95000"/>
                </a:lnSpc>
                <a:spcAft>
                  <a:spcPts val="935"/>
                </a:spcAft>
              </a:pPr>
              <a:endParaRPr lang="en-US" sz="2400" noProof="1">
                <a:cs typeface="Arial" panose="020B0604020202020204" pitchFamily="34" charset="0"/>
              </a:endParaRPr>
            </a:p>
          </p:txBody>
        </p:sp>
      </p:grpSp>
      <p:sp>
        <p:nvSpPr>
          <p:cNvPr id="55" name="_content"/>
          <p:cNvSpPr>
            <a:spLocks noChangeArrowheads="1"/>
          </p:cNvSpPr>
          <p:nvPr/>
        </p:nvSpPr>
        <p:spPr bwMode="gray">
          <a:xfrm>
            <a:off x="2261874" y="1332406"/>
            <a:ext cx="1413048" cy="300369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sz="1100" b="1" noProof="1">
                <a:solidFill>
                  <a:schemeClr val="bg1"/>
                </a:solidFill>
                <a:cs typeface="Arial" charset="0"/>
              </a:rPr>
              <a:t>Innovators</a:t>
            </a:r>
          </a:p>
        </p:txBody>
      </p:sp>
      <p:sp>
        <p:nvSpPr>
          <p:cNvPr id="56" name="_content"/>
          <p:cNvSpPr>
            <a:spLocks noChangeArrowheads="1"/>
          </p:cNvSpPr>
          <p:nvPr/>
        </p:nvSpPr>
        <p:spPr bwMode="gray">
          <a:xfrm>
            <a:off x="699267" y="1332406"/>
            <a:ext cx="1417363" cy="300369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sz="1100" b="1" noProof="1">
                <a:solidFill>
                  <a:schemeClr val="bg1"/>
                </a:solidFill>
                <a:cs typeface="Arial" charset="0"/>
              </a:rPr>
              <a:t>Testers</a:t>
            </a:r>
          </a:p>
        </p:txBody>
      </p:sp>
      <p:sp>
        <p:nvSpPr>
          <p:cNvPr id="58" name="_content"/>
          <p:cNvSpPr>
            <a:spLocks noChangeArrowheads="1"/>
          </p:cNvSpPr>
          <p:nvPr/>
        </p:nvSpPr>
        <p:spPr bwMode="gray">
          <a:xfrm>
            <a:off x="3824480" y="1332406"/>
            <a:ext cx="1408735" cy="300369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sz="1100" b="1" noProof="1">
                <a:solidFill>
                  <a:schemeClr val="bg1"/>
                </a:solidFill>
                <a:cs typeface="Arial" charset="0"/>
              </a:rPr>
              <a:t>Early-Adopters</a:t>
            </a:r>
          </a:p>
        </p:txBody>
      </p:sp>
      <p:sp>
        <p:nvSpPr>
          <p:cNvPr id="59" name="_content"/>
          <p:cNvSpPr>
            <a:spLocks noChangeArrowheads="1"/>
          </p:cNvSpPr>
          <p:nvPr/>
        </p:nvSpPr>
        <p:spPr bwMode="gray">
          <a:xfrm>
            <a:off x="5387088" y="1332406"/>
            <a:ext cx="1404420" cy="300369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sz="1100" b="1" noProof="1">
                <a:solidFill>
                  <a:schemeClr val="bg1"/>
                </a:solidFill>
                <a:cs typeface="Arial" charset="0"/>
              </a:rPr>
              <a:t>Early Majority</a:t>
            </a:r>
          </a:p>
        </p:txBody>
      </p:sp>
      <p:sp>
        <p:nvSpPr>
          <p:cNvPr id="60" name="_content"/>
          <p:cNvSpPr>
            <a:spLocks noChangeArrowheads="1"/>
          </p:cNvSpPr>
          <p:nvPr/>
        </p:nvSpPr>
        <p:spPr bwMode="gray">
          <a:xfrm>
            <a:off x="6949693" y="1332406"/>
            <a:ext cx="1400107" cy="300369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sz="1100" b="1" noProof="1">
                <a:solidFill>
                  <a:schemeClr val="bg1"/>
                </a:solidFill>
                <a:cs typeface="Arial" charset="0"/>
              </a:rPr>
              <a:t>Late Majority</a:t>
            </a:r>
          </a:p>
        </p:txBody>
      </p:sp>
      <p:sp>
        <p:nvSpPr>
          <p:cNvPr id="61" name="_content"/>
          <p:cNvSpPr>
            <a:spLocks noChangeArrowheads="1"/>
          </p:cNvSpPr>
          <p:nvPr/>
        </p:nvSpPr>
        <p:spPr bwMode="gray">
          <a:xfrm>
            <a:off x="8512300" y="1332406"/>
            <a:ext cx="1395795" cy="300369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sz="1100" b="1" noProof="1">
                <a:solidFill>
                  <a:schemeClr val="bg1"/>
                </a:solidFill>
                <a:cs typeface="Arial" charset="0"/>
              </a:rPr>
              <a:t>Laggards</a:t>
            </a:r>
          </a:p>
        </p:txBody>
      </p:sp>
      <p:sp>
        <p:nvSpPr>
          <p:cNvPr id="62" name="_content"/>
          <p:cNvSpPr>
            <a:spLocks noChangeArrowheads="1"/>
          </p:cNvSpPr>
          <p:nvPr/>
        </p:nvSpPr>
        <p:spPr bwMode="gray">
          <a:xfrm>
            <a:off x="10100321" y="1332406"/>
            <a:ext cx="1392087" cy="300369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sz="1100" b="1" noProof="1">
                <a:solidFill>
                  <a:schemeClr val="bg1"/>
                </a:solidFill>
                <a:cs typeface="Arial" charset="0"/>
              </a:rPr>
              <a:t>X-Laggards</a:t>
            </a:r>
          </a:p>
        </p:txBody>
      </p:sp>
      <p:sp>
        <p:nvSpPr>
          <p:cNvPr id="66" name="Line 30" descr="© INSCALE GmbH, 26.05.2010&#10;http://www.presentationload.com/"/>
          <p:cNvSpPr>
            <a:spLocks noChangeShapeType="1"/>
          </p:cNvSpPr>
          <p:nvPr/>
        </p:nvSpPr>
        <p:spPr bwMode="gray">
          <a:xfrm>
            <a:off x="629419" y="5699886"/>
            <a:ext cx="10932595" cy="0"/>
          </a:xfrm>
          <a:prstGeom prst="line">
            <a:avLst/>
          </a:prstGeom>
          <a:noFill/>
          <a:ln w="25400">
            <a:gradFill flip="none" rotWithShape="1">
              <a:gsLst>
                <a:gs pos="50000">
                  <a:schemeClr val="accent4"/>
                </a:gs>
                <a:gs pos="0">
                  <a:srgbClr val="09244C"/>
                </a:gs>
                <a:gs pos="100000">
                  <a:schemeClr val="accent2"/>
                </a:gs>
              </a:gsLst>
              <a:lin ang="0" scaled="1"/>
              <a:tileRect/>
            </a:gradFill>
            <a:prstDash val="solid"/>
            <a:round/>
            <a:headEnd type="oval"/>
            <a:tailEnd type="oval" w="med" len="med"/>
          </a:ln>
          <a:effectLst/>
        </p:spPr>
        <p:txBody>
          <a:bodyPr/>
          <a:lstStyle/>
          <a:p>
            <a:pPr defTabSz="609507">
              <a:lnSpc>
                <a:spcPct val="95000"/>
              </a:lnSpc>
              <a:spcAft>
                <a:spcPts val="935"/>
              </a:spcAft>
            </a:pPr>
            <a:endParaRPr lang="en-US" sz="2400" noProof="1">
              <a:cs typeface="Arial" panose="020B0604020202020204" pitchFamily="34" charset="0"/>
            </a:endParaRPr>
          </a:p>
        </p:txBody>
      </p:sp>
      <p:sp>
        <p:nvSpPr>
          <p:cNvPr id="67" name="Ellipse 76"/>
          <p:cNvSpPr/>
          <p:nvPr/>
        </p:nvSpPr>
        <p:spPr bwMode="gray">
          <a:xfrm rot="2700000">
            <a:off x="8746643" y="3218641"/>
            <a:ext cx="491076" cy="491076"/>
          </a:xfrm>
          <a:prstGeom prst="ellipse">
            <a:avLst/>
          </a:prstGeom>
          <a:solidFill>
            <a:schemeClr val="bg1"/>
          </a:solidFill>
          <a:ln w="38100">
            <a:solidFill>
              <a:srgbClr val="B3E900"/>
            </a:solidFill>
            <a:round/>
            <a:headEnd/>
            <a:tailEnd/>
          </a:ln>
          <a:effectLst/>
        </p:spPr>
        <p:txBody>
          <a:bodyPr rtlCol="0" anchor="ctr"/>
          <a:lstStyle/>
          <a:p>
            <a:pPr algn="ctr" defTabSz="609507"/>
            <a:endParaRPr lang="en-US" sz="2400" dirty="0">
              <a:cs typeface="Arial" panose="020B0604020202020204" pitchFamily="34" charset="0"/>
            </a:endParaRPr>
          </a:p>
        </p:txBody>
      </p:sp>
      <p:sp>
        <p:nvSpPr>
          <p:cNvPr id="69" name="Ellipse 76"/>
          <p:cNvSpPr/>
          <p:nvPr/>
        </p:nvSpPr>
        <p:spPr bwMode="gray">
          <a:xfrm rot="2700000">
            <a:off x="4910296" y="3742040"/>
            <a:ext cx="491076" cy="491076"/>
          </a:xfrm>
          <a:prstGeom prst="ellipse">
            <a:avLst/>
          </a:prstGeom>
          <a:solidFill>
            <a:schemeClr val="bg1"/>
          </a:solidFill>
          <a:ln w="38100">
            <a:solidFill>
              <a:srgbClr val="B3E900"/>
            </a:solidFill>
            <a:round/>
            <a:headEnd/>
            <a:tailEnd/>
          </a:ln>
          <a:effectLst/>
        </p:spPr>
        <p:txBody>
          <a:bodyPr rtlCol="0" anchor="ctr"/>
          <a:lstStyle/>
          <a:p>
            <a:pPr algn="ctr" defTabSz="609507"/>
            <a:endParaRPr lang="en-US" sz="2400" dirty="0">
              <a:cs typeface="Arial" panose="020B0604020202020204" pitchFamily="34" charset="0"/>
            </a:endParaRPr>
          </a:p>
        </p:txBody>
      </p:sp>
      <p:sp>
        <p:nvSpPr>
          <p:cNvPr id="71" name="Ellipse 76"/>
          <p:cNvSpPr/>
          <p:nvPr/>
        </p:nvSpPr>
        <p:spPr bwMode="gray">
          <a:xfrm rot="2700000">
            <a:off x="3246142" y="4902097"/>
            <a:ext cx="491076" cy="491076"/>
          </a:xfrm>
          <a:prstGeom prst="ellipse">
            <a:avLst/>
          </a:prstGeom>
          <a:solidFill>
            <a:schemeClr val="bg1"/>
          </a:solidFill>
          <a:ln w="38100">
            <a:solidFill>
              <a:srgbClr val="B3E900"/>
            </a:solidFill>
            <a:round/>
            <a:headEnd/>
            <a:tailEnd/>
          </a:ln>
          <a:effectLst/>
        </p:spPr>
        <p:txBody>
          <a:bodyPr rtlCol="0" anchor="ctr"/>
          <a:lstStyle/>
          <a:p>
            <a:pPr algn="ctr" defTabSz="609507"/>
            <a:endParaRPr lang="en-US" sz="2400" dirty="0">
              <a:cs typeface="Arial" panose="020B0604020202020204" pitchFamily="34" charset="0"/>
            </a:endParaRPr>
          </a:p>
        </p:txBody>
      </p:sp>
      <p:sp>
        <p:nvSpPr>
          <p:cNvPr id="63" name="_content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3347409" y="5067229"/>
            <a:ext cx="288541" cy="160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sz="1100" b="1" noProof="1">
                <a:solidFill>
                  <a:schemeClr val="accent1"/>
                </a:solidFill>
                <a:cs typeface="Arial" charset="0"/>
              </a:rPr>
              <a:t>2018</a:t>
            </a:r>
          </a:p>
        </p:txBody>
      </p:sp>
      <p:sp>
        <p:nvSpPr>
          <p:cNvPr id="64" name="_content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011563" y="3907172"/>
            <a:ext cx="288541" cy="160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sz="1100" b="1" noProof="1">
                <a:solidFill>
                  <a:schemeClr val="accent1"/>
                </a:solidFill>
                <a:cs typeface="Arial" charset="0"/>
              </a:rPr>
              <a:t>2021</a:t>
            </a:r>
          </a:p>
        </p:txBody>
      </p:sp>
      <p:sp>
        <p:nvSpPr>
          <p:cNvPr id="65" name="_content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8849942" y="3383773"/>
            <a:ext cx="288541" cy="160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 defTabSz="936871">
              <a:lnSpc>
                <a:spcPct val="95000"/>
              </a:lnSpc>
              <a:spcAft>
                <a:spcPts val="935"/>
              </a:spcAft>
              <a:defRPr/>
            </a:pPr>
            <a:r>
              <a:rPr lang="en-US" sz="1100" b="1" noProof="1">
                <a:solidFill>
                  <a:schemeClr val="accent1"/>
                </a:solidFill>
                <a:cs typeface="Arial" charset="0"/>
              </a:rPr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39804952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ject Blocker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3</a:t>
            </a:fld>
            <a:endParaRPr lang="en-US" dirty="0"/>
          </a:p>
        </p:txBody>
      </p:sp>
      <p:graphicFrame>
        <p:nvGraphicFramePr>
          <p:cNvPr id="19" name="Group 3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572283"/>
              </p:ext>
            </p:extLst>
          </p:nvPr>
        </p:nvGraphicFramePr>
        <p:xfrm>
          <a:off x="334963" y="1344605"/>
          <a:ext cx="11520488" cy="4888520"/>
        </p:xfrm>
        <a:graphic>
          <a:graphicData uri="http://schemas.openxmlformats.org/drawingml/2006/table">
            <a:tbl>
              <a:tblPr/>
              <a:tblGrid>
                <a:gridCol w="21792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7740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1275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2683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0946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280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600" b="1" cap="all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itle</a:t>
                      </a:r>
                    </a:p>
                  </a:txBody>
                  <a:tcPr marL="72000" marR="72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6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tatus</a:t>
                      </a:r>
                    </a:p>
                  </a:txBody>
                  <a:tcPr marL="72000" marR="72000" marT="36000" marB="360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6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6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sponsibilities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6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ue date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401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locker title</a:t>
                      </a:r>
                    </a:p>
                  </a:txBody>
                  <a:tcPr marL="72000" marR="72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place this blurb with other details.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move and replace this text with any details related to your project, feel free to change the title.</a:t>
                      </a:r>
                      <a:endParaRPr lang="en-GB" sz="12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12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</a:t>
                      </a:r>
                      <a:r>
                        <a:rPr lang="en-US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lace this blurb with other details.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YYYY-MM-DD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401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locker title</a:t>
                      </a:r>
                    </a:p>
                  </a:txBody>
                  <a:tcPr marL="72000" marR="72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12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pl</a:t>
                      </a:r>
                      <a:r>
                        <a:rPr lang="en-US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ce this blurb with other details.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move and replace this text with any details related to your project, feel free to change the title.</a:t>
                      </a:r>
                      <a:endParaRPr lang="en-GB" sz="12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12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p</a:t>
                      </a:r>
                      <a:r>
                        <a:rPr lang="en-US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ace this blurb with other details.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YYYY-MM-DD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401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locker title</a:t>
                      </a:r>
                    </a:p>
                  </a:txBody>
                  <a:tcPr marL="72000" marR="72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altLang="de-DE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place this blurb with other details.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altLang="de-DE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move and replace this text with any details related to your project, feel free to change the title.</a:t>
                      </a:r>
                      <a:endParaRPr lang="en-GB" sz="12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12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p</a:t>
                      </a:r>
                      <a:r>
                        <a:rPr lang="en-US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ace this blurb with other details.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YYYY-MM-DD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401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locker title</a:t>
                      </a:r>
                    </a:p>
                  </a:txBody>
                  <a:tcPr marL="72000" marR="72000" marT="36000" marB="3600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altLang="de-DE" sz="12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altLang="de-DE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place this blurb with other details.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altLang="de-DE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move and replace this text with any details related to your project, feel free to change the title.</a:t>
                      </a:r>
                      <a:endParaRPr lang="en-GB" sz="12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12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place this blurb with other </a:t>
                      </a:r>
                      <a:r>
                        <a:rPr lang="en-US" sz="12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tails.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YYYY-MM-DD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xmlns="" id="{A37A11F5-96F6-4B11-9F0E-83E55A05E462}"/>
              </a:ext>
            </a:extLst>
          </p:cNvPr>
          <p:cNvSpPr/>
          <p:nvPr/>
        </p:nvSpPr>
        <p:spPr>
          <a:xfrm>
            <a:off x="2905297" y="1761924"/>
            <a:ext cx="434975" cy="973632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xmlns="" id="{C9D78B6C-0588-4CAC-BD74-ACF88AB55C34}"/>
              </a:ext>
            </a:extLst>
          </p:cNvPr>
          <p:cNvSpPr/>
          <p:nvPr/>
        </p:nvSpPr>
        <p:spPr>
          <a:xfrm>
            <a:off x="2905297" y="2897304"/>
            <a:ext cx="434975" cy="973632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xmlns="" id="{A3016628-FE16-4A23-8627-6DD856A27553}"/>
              </a:ext>
            </a:extLst>
          </p:cNvPr>
          <p:cNvSpPr/>
          <p:nvPr/>
        </p:nvSpPr>
        <p:spPr>
          <a:xfrm>
            <a:off x="2905297" y="4032684"/>
            <a:ext cx="434975" cy="973632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xmlns="" id="{73A774D0-5144-4970-880C-1BEB08DFF808}"/>
              </a:ext>
            </a:extLst>
          </p:cNvPr>
          <p:cNvSpPr/>
          <p:nvPr/>
        </p:nvSpPr>
        <p:spPr>
          <a:xfrm>
            <a:off x="2905297" y="5168064"/>
            <a:ext cx="434975" cy="973632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3019198" y="1880870"/>
            <a:ext cx="207172" cy="735740"/>
            <a:chOff x="3005571" y="1778390"/>
            <a:chExt cx="236276" cy="839101"/>
          </a:xfrm>
        </p:grpSpPr>
        <p:sp>
          <p:nvSpPr>
            <p:cNvPr id="20" name="Ellipse 96"/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rgbClr val="C00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Ellipse 97"/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Ellipse 98"/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019198" y="4151630"/>
            <a:ext cx="207172" cy="735740"/>
            <a:chOff x="3005571" y="1778390"/>
            <a:chExt cx="236276" cy="839101"/>
          </a:xfrm>
        </p:grpSpPr>
        <p:sp>
          <p:nvSpPr>
            <p:cNvPr id="30" name="Ellipse 96"/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Ellipse 97"/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Ellipse 98"/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019198" y="5287010"/>
            <a:ext cx="207172" cy="735740"/>
            <a:chOff x="3005571" y="1778390"/>
            <a:chExt cx="236276" cy="839101"/>
          </a:xfrm>
        </p:grpSpPr>
        <p:sp>
          <p:nvSpPr>
            <p:cNvPr id="35" name="Ellipse 96"/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Ellipse 97"/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Ellipse 98"/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019198" y="3016250"/>
            <a:ext cx="207172" cy="735740"/>
            <a:chOff x="3005571" y="1778390"/>
            <a:chExt cx="236276" cy="839101"/>
          </a:xfrm>
        </p:grpSpPr>
        <p:sp>
          <p:nvSpPr>
            <p:cNvPr id="26" name="Ellipse 96"/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Ellipse 97"/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rgbClr val="FFC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Ellipse 98"/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7902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New Feature Request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4</a:t>
            </a:fld>
            <a:endParaRPr lang="en-US" dirty="0"/>
          </a:p>
        </p:txBody>
      </p:sp>
      <p:cxnSp>
        <p:nvCxnSpPr>
          <p:cNvPr id="268" name="Straight Connector 267"/>
          <p:cNvCxnSpPr/>
          <p:nvPr/>
        </p:nvCxnSpPr>
        <p:spPr>
          <a:xfrm>
            <a:off x="2723193" y="1294048"/>
            <a:ext cx="0" cy="515963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/>
        </p:nvCxnSpPr>
        <p:spPr>
          <a:xfrm rot="5400000">
            <a:off x="7255758" y="-1380591"/>
            <a:ext cx="0" cy="8631238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/>
          <p:cNvCxnSpPr/>
          <p:nvPr/>
        </p:nvCxnSpPr>
        <p:spPr>
          <a:xfrm rot="5400000">
            <a:off x="7255758" y="-196836"/>
            <a:ext cx="0" cy="8631238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/>
        </p:nvCxnSpPr>
        <p:spPr>
          <a:xfrm rot="5400000">
            <a:off x="7255758" y="986919"/>
            <a:ext cx="0" cy="8631238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Text Placeholder 6"/>
          <p:cNvSpPr txBox="1">
            <a:spLocks/>
          </p:cNvSpPr>
          <p:nvPr/>
        </p:nvSpPr>
        <p:spPr bwMode="gray">
          <a:xfrm rot="16200000">
            <a:off x="1163765" y="4828990"/>
            <a:ext cx="985694" cy="2131682"/>
          </a:xfrm>
          <a:prstGeom prst="round2Same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3" name="Text Placeholder 6"/>
          <p:cNvSpPr txBox="1">
            <a:spLocks/>
          </p:cNvSpPr>
          <p:nvPr/>
        </p:nvSpPr>
        <p:spPr bwMode="gray">
          <a:xfrm>
            <a:off x="977061" y="5740526"/>
            <a:ext cx="1359593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  <a:cs typeface="Arial" panose="020B0604020202020204" pitchFamily="34" charset="0"/>
              </a:rPr>
              <a:t>Agencies &amp; Resellers</a:t>
            </a:r>
          </a:p>
        </p:txBody>
      </p:sp>
      <p:sp>
        <p:nvSpPr>
          <p:cNvPr id="258" name="Text Placeholder 6"/>
          <p:cNvSpPr txBox="1">
            <a:spLocks/>
          </p:cNvSpPr>
          <p:nvPr/>
        </p:nvSpPr>
        <p:spPr bwMode="gray">
          <a:xfrm rot="16200000">
            <a:off x="1164009" y="1276813"/>
            <a:ext cx="985694" cy="2132673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</p:spPr>
        <p:txBody>
          <a:bodyPr lIns="108000" tIns="72000" rIns="108000" bIns="180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4" name="Text Placeholder 6"/>
          <p:cNvSpPr txBox="1">
            <a:spLocks/>
          </p:cNvSpPr>
          <p:nvPr/>
        </p:nvSpPr>
        <p:spPr bwMode="gray">
          <a:xfrm>
            <a:off x="976970" y="2189262"/>
            <a:ext cx="1359298" cy="30777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bg1"/>
                </a:solidFill>
                <a:cs typeface="Arial" panose="020B0604020202020204" pitchFamily="34" charset="0"/>
              </a:rPr>
              <a:t>Individual Users</a:t>
            </a:r>
          </a:p>
        </p:txBody>
      </p:sp>
      <p:grpSp>
        <p:nvGrpSpPr>
          <p:cNvPr id="279" name="Group 278"/>
          <p:cNvGrpSpPr/>
          <p:nvPr/>
        </p:nvGrpSpPr>
        <p:grpSpPr>
          <a:xfrm>
            <a:off x="2560529" y="2181224"/>
            <a:ext cx="323850" cy="323850"/>
            <a:chOff x="428846" y="1801019"/>
            <a:chExt cx="323850" cy="323850"/>
          </a:xfrm>
        </p:grpSpPr>
        <p:sp>
          <p:nvSpPr>
            <p:cNvPr id="277" name="Oval 276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8" name="Chevron 277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60" name="Text Placeholder 6"/>
          <p:cNvSpPr txBox="1">
            <a:spLocks/>
          </p:cNvSpPr>
          <p:nvPr/>
        </p:nvSpPr>
        <p:spPr bwMode="gray">
          <a:xfrm rot="16200000">
            <a:off x="1164010" y="2460263"/>
            <a:ext cx="985694" cy="2132674"/>
          </a:xfrm>
          <a:prstGeom prst="round2Same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</p:spPr>
        <p:txBody>
          <a:bodyPr lIns="108000" tIns="72000" rIns="108000" bIns="180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5" name="Text Placeholder 6"/>
          <p:cNvSpPr txBox="1">
            <a:spLocks/>
          </p:cNvSpPr>
          <p:nvPr/>
        </p:nvSpPr>
        <p:spPr bwMode="gray">
          <a:xfrm>
            <a:off x="976970" y="3373017"/>
            <a:ext cx="1359298" cy="30777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  <a:cs typeface="Arial" panose="020B0604020202020204" pitchFamily="34" charset="0"/>
              </a:rPr>
              <a:t>Small Businesses</a:t>
            </a:r>
          </a:p>
        </p:txBody>
      </p:sp>
      <p:grpSp>
        <p:nvGrpSpPr>
          <p:cNvPr id="280" name="Group 279"/>
          <p:cNvGrpSpPr/>
          <p:nvPr/>
        </p:nvGrpSpPr>
        <p:grpSpPr>
          <a:xfrm>
            <a:off x="2560529" y="3364675"/>
            <a:ext cx="323850" cy="323850"/>
            <a:chOff x="428846" y="1801019"/>
            <a:chExt cx="323850" cy="323850"/>
          </a:xfrm>
        </p:grpSpPr>
        <p:sp>
          <p:nvSpPr>
            <p:cNvPr id="281" name="Oval 280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2" name="Chevron 281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62" name="Text Placeholder 6"/>
          <p:cNvSpPr txBox="1">
            <a:spLocks/>
          </p:cNvSpPr>
          <p:nvPr/>
        </p:nvSpPr>
        <p:spPr bwMode="gray">
          <a:xfrm rot="16200000">
            <a:off x="1164010" y="3643713"/>
            <a:ext cx="985694" cy="2132674"/>
          </a:xfrm>
          <a:prstGeom prst="round2SameRect">
            <a:avLst/>
          </a:prstGeom>
          <a:gradFill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5000"/>
                  <a:lumOff val="25000"/>
                </a:schemeClr>
              </a:gs>
            </a:gsLst>
            <a:lin ang="5400000" scaled="0"/>
          </a:gradFill>
        </p:spPr>
        <p:txBody>
          <a:bodyPr lIns="108000" tIns="72000" rIns="108000" bIns="180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6" name="Text Placeholder 6"/>
          <p:cNvSpPr txBox="1">
            <a:spLocks/>
          </p:cNvSpPr>
          <p:nvPr/>
        </p:nvSpPr>
        <p:spPr bwMode="gray">
          <a:xfrm>
            <a:off x="976970" y="4556772"/>
            <a:ext cx="1359298" cy="307777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bg1"/>
                </a:solidFill>
                <a:cs typeface="Arial" panose="020B0604020202020204" pitchFamily="34" charset="0"/>
              </a:rPr>
              <a:t>Enterprises</a:t>
            </a:r>
          </a:p>
        </p:txBody>
      </p:sp>
      <p:grpSp>
        <p:nvGrpSpPr>
          <p:cNvPr id="283" name="Group 282"/>
          <p:cNvGrpSpPr/>
          <p:nvPr/>
        </p:nvGrpSpPr>
        <p:grpSpPr>
          <a:xfrm>
            <a:off x="2560529" y="4548125"/>
            <a:ext cx="323850" cy="323850"/>
            <a:chOff x="428846" y="1801019"/>
            <a:chExt cx="323850" cy="323850"/>
          </a:xfrm>
        </p:grpSpPr>
        <p:sp>
          <p:nvSpPr>
            <p:cNvPr id="284" name="Oval 283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5" name="Chevron 284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54" name="Text Placeholder 6"/>
          <p:cNvSpPr txBox="1">
            <a:spLocks/>
          </p:cNvSpPr>
          <p:nvPr/>
        </p:nvSpPr>
        <p:spPr bwMode="gray">
          <a:xfrm>
            <a:off x="2940139" y="5352283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251" name="Text Placeholder 6"/>
          <p:cNvSpPr txBox="1">
            <a:spLocks/>
          </p:cNvSpPr>
          <p:nvPr/>
        </p:nvSpPr>
        <p:spPr bwMode="gray">
          <a:xfrm>
            <a:off x="2940139" y="1801019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252" name="Text Placeholder 6"/>
          <p:cNvSpPr txBox="1">
            <a:spLocks/>
          </p:cNvSpPr>
          <p:nvPr/>
        </p:nvSpPr>
        <p:spPr bwMode="gray">
          <a:xfrm>
            <a:off x="2940139" y="2984774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253" name="Text Placeholder 6"/>
          <p:cNvSpPr txBox="1">
            <a:spLocks/>
          </p:cNvSpPr>
          <p:nvPr/>
        </p:nvSpPr>
        <p:spPr bwMode="gray">
          <a:xfrm>
            <a:off x="2940139" y="4168529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295" name="TextBox 294"/>
          <p:cNvSpPr txBox="1"/>
          <p:nvPr/>
        </p:nvSpPr>
        <p:spPr>
          <a:xfrm>
            <a:off x="2940139" y="1453843"/>
            <a:ext cx="2668242" cy="313350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Customer 1</a:t>
            </a:r>
          </a:p>
        </p:txBody>
      </p:sp>
      <p:sp>
        <p:nvSpPr>
          <p:cNvPr id="298" name="Text Placeholder 6"/>
          <p:cNvSpPr txBox="1">
            <a:spLocks/>
          </p:cNvSpPr>
          <p:nvPr/>
        </p:nvSpPr>
        <p:spPr bwMode="gray">
          <a:xfrm>
            <a:off x="5921637" y="5352283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299" name="Text Placeholder 6"/>
          <p:cNvSpPr txBox="1">
            <a:spLocks/>
          </p:cNvSpPr>
          <p:nvPr/>
        </p:nvSpPr>
        <p:spPr bwMode="gray">
          <a:xfrm>
            <a:off x="5921637" y="1801019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300" name="Text Placeholder 6"/>
          <p:cNvSpPr txBox="1">
            <a:spLocks/>
          </p:cNvSpPr>
          <p:nvPr/>
        </p:nvSpPr>
        <p:spPr bwMode="gray">
          <a:xfrm>
            <a:off x="5921637" y="2984774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301" name="Text Placeholder 6"/>
          <p:cNvSpPr txBox="1">
            <a:spLocks/>
          </p:cNvSpPr>
          <p:nvPr/>
        </p:nvSpPr>
        <p:spPr bwMode="gray">
          <a:xfrm>
            <a:off x="5921637" y="4168529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302" name="TextBox 301"/>
          <p:cNvSpPr txBox="1"/>
          <p:nvPr/>
        </p:nvSpPr>
        <p:spPr>
          <a:xfrm>
            <a:off x="5921637" y="1453843"/>
            <a:ext cx="2668242" cy="313350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Customer 2</a:t>
            </a:r>
          </a:p>
        </p:txBody>
      </p:sp>
      <p:sp>
        <p:nvSpPr>
          <p:cNvPr id="304" name="Text Placeholder 6"/>
          <p:cNvSpPr txBox="1">
            <a:spLocks/>
          </p:cNvSpPr>
          <p:nvPr/>
        </p:nvSpPr>
        <p:spPr bwMode="gray">
          <a:xfrm>
            <a:off x="8903135" y="5352283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305" name="Text Placeholder 6"/>
          <p:cNvSpPr txBox="1">
            <a:spLocks/>
          </p:cNvSpPr>
          <p:nvPr/>
        </p:nvSpPr>
        <p:spPr bwMode="gray">
          <a:xfrm>
            <a:off x="8903135" y="1801019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306" name="Text Placeholder 6"/>
          <p:cNvSpPr txBox="1">
            <a:spLocks/>
          </p:cNvSpPr>
          <p:nvPr/>
        </p:nvSpPr>
        <p:spPr bwMode="gray">
          <a:xfrm>
            <a:off x="8903135" y="2984774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Clr>
                <a:schemeClr val="accent2"/>
              </a:buClr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307" name="Text Placeholder 6"/>
          <p:cNvSpPr txBox="1">
            <a:spLocks/>
          </p:cNvSpPr>
          <p:nvPr/>
        </p:nvSpPr>
        <p:spPr bwMode="gray">
          <a:xfrm>
            <a:off x="8903135" y="4168529"/>
            <a:ext cx="2668142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lvl="1" defTabSz="914447">
              <a:lnSpc>
                <a:spcPct val="90000"/>
              </a:lnSpc>
              <a:buSzPct val="90000"/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308" name="TextBox 307"/>
          <p:cNvSpPr txBox="1"/>
          <p:nvPr/>
        </p:nvSpPr>
        <p:spPr>
          <a:xfrm>
            <a:off x="8903135" y="1453843"/>
            <a:ext cx="2668242" cy="313350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Customer 3</a:t>
            </a:r>
          </a:p>
        </p:txBody>
      </p:sp>
    </p:spTree>
    <p:extLst>
      <p:ext uri="{BB962C8B-B14F-4D97-AF65-F5344CB8AC3E}">
        <p14:creationId xmlns:p14="http://schemas.microsoft.com/office/powerpoint/2010/main" val="42654481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cess Phas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254" name="Text Placeholder 6"/>
          <p:cNvSpPr txBox="1">
            <a:spLocks/>
          </p:cNvSpPr>
          <p:nvPr/>
        </p:nvSpPr>
        <p:spPr bwMode="gray">
          <a:xfrm>
            <a:off x="2940139" y="5198395"/>
            <a:ext cx="8631240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914447">
              <a:lnSpc>
                <a:spcPct val="90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285750" lvl="1" indent="-285750" defTabSz="914447">
              <a:lnSpc>
                <a:spcPct val="90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85750" lvl="1" indent="-285750" defTabSz="914447">
              <a:lnSpc>
                <a:spcPct val="90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251" name="Text Placeholder 6"/>
          <p:cNvSpPr txBox="1">
            <a:spLocks/>
          </p:cNvSpPr>
          <p:nvPr/>
        </p:nvSpPr>
        <p:spPr bwMode="gray">
          <a:xfrm>
            <a:off x="2940139" y="1420814"/>
            <a:ext cx="8631240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914447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285750" lvl="1" indent="-285750" defTabSz="914447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85750" lvl="1" indent="-285750" defTabSz="914447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252" name="Text Placeholder 6"/>
          <p:cNvSpPr txBox="1">
            <a:spLocks/>
          </p:cNvSpPr>
          <p:nvPr/>
        </p:nvSpPr>
        <p:spPr bwMode="gray">
          <a:xfrm>
            <a:off x="2940139" y="2680007"/>
            <a:ext cx="8631240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914447">
              <a:lnSpc>
                <a:spcPct val="90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285750" lvl="1" indent="-285750" defTabSz="914447">
              <a:lnSpc>
                <a:spcPct val="90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85750" lvl="1" indent="-285750" defTabSz="914447">
              <a:lnSpc>
                <a:spcPct val="90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253" name="Text Placeholder 6"/>
          <p:cNvSpPr txBox="1">
            <a:spLocks/>
          </p:cNvSpPr>
          <p:nvPr/>
        </p:nvSpPr>
        <p:spPr bwMode="gray">
          <a:xfrm>
            <a:off x="2940139" y="3939200"/>
            <a:ext cx="8631240" cy="1084263"/>
          </a:xfrm>
          <a:prstGeom prst="rect">
            <a:avLst/>
          </a:prstGeom>
          <a:noFill/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914447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pPr marL="285750" lvl="1" indent="-285750" defTabSz="914447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85750" lvl="1" indent="-285750" defTabSz="914447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255" name="Text Placeholder 6"/>
          <p:cNvSpPr txBox="1">
            <a:spLocks/>
          </p:cNvSpPr>
          <p:nvPr/>
        </p:nvSpPr>
        <p:spPr bwMode="gray">
          <a:xfrm rot="16200000">
            <a:off x="1114481" y="4675102"/>
            <a:ext cx="1084263" cy="2131682"/>
          </a:xfrm>
          <a:prstGeom prst="round2Same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" name="Text Placeholder 6"/>
          <p:cNvSpPr txBox="1">
            <a:spLocks/>
          </p:cNvSpPr>
          <p:nvPr/>
        </p:nvSpPr>
        <p:spPr bwMode="gray">
          <a:xfrm rot="16200000">
            <a:off x="1114725" y="896608"/>
            <a:ext cx="1084263" cy="2132673"/>
          </a:xfrm>
          <a:prstGeom prst="round2SameRect">
            <a:avLst/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</p:spPr>
        <p:txBody>
          <a:bodyPr lIns="108000" tIns="72000" rIns="108000" bIns="180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0" name="Text Placeholder 6"/>
          <p:cNvSpPr txBox="1">
            <a:spLocks/>
          </p:cNvSpPr>
          <p:nvPr/>
        </p:nvSpPr>
        <p:spPr bwMode="gray">
          <a:xfrm rot="16200000">
            <a:off x="1114726" y="2155496"/>
            <a:ext cx="1084263" cy="2132674"/>
          </a:xfrm>
          <a:prstGeom prst="round2Same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</p:spPr>
        <p:txBody>
          <a:bodyPr lIns="108000" tIns="72000" rIns="108000" bIns="180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2" name="Text Placeholder 6"/>
          <p:cNvSpPr txBox="1">
            <a:spLocks/>
          </p:cNvSpPr>
          <p:nvPr/>
        </p:nvSpPr>
        <p:spPr bwMode="gray">
          <a:xfrm rot="16200000">
            <a:off x="1114726" y="3414384"/>
            <a:ext cx="1084263" cy="2132674"/>
          </a:xfrm>
          <a:prstGeom prst="round2SameRect">
            <a:avLst/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</p:spPr>
        <p:txBody>
          <a:bodyPr lIns="108000" tIns="72000" rIns="108000" bIns="180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8" name="Straight Connector 267"/>
          <p:cNvCxnSpPr/>
          <p:nvPr/>
        </p:nvCxnSpPr>
        <p:spPr>
          <a:xfrm>
            <a:off x="2723193" y="1294048"/>
            <a:ext cx="0" cy="515963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/>
        </p:nvCxnSpPr>
        <p:spPr>
          <a:xfrm rot="5400000">
            <a:off x="7255758" y="-1723077"/>
            <a:ext cx="0" cy="8631238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/>
          <p:cNvCxnSpPr/>
          <p:nvPr/>
        </p:nvCxnSpPr>
        <p:spPr>
          <a:xfrm rot="5400000">
            <a:off x="7255758" y="-463884"/>
            <a:ext cx="0" cy="8631238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/>
        </p:nvCxnSpPr>
        <p:spPr>
          <a:xfrm rot="5400000">
            <a:off x="7255758" y="795309"/>
            <a:ext cx="0" cy="8631238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Text Placeholder 6"/>
          <p:cNvSpPr txBox="1">
            <a:spLocks/>
          </p:cNvSpPr>
          <p:nvPr/>
        </p:nvSpPr>
        <p:spPr bwMode="gray">
          <a:xfrm>
            <a:off x="1340263" y="5586638"/>
            <a:ext cx="633187" cy="307777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  <a:cs typeface="Arial" panose="020B0604020202020204" pitchFamily="34" charset="0"/>
              </a:rPr>
              <a:t>Phase</a:t>
            </a:r>
          </a:p>
        </p:txBody>
      </p:sp>
      <p:sp>
        <p:nvSpPr>
          <p:cNvPr id="274" name="Text Placeholder 6"/>
          <p:cNvSpPr txBox="1">
            <a:spLocks/>
          </p:cNvSpPr>
          <p:nvPr/>
        </p:nvSpPr>
        <p:spPr bwMode="gray">
          <a:xfrm>
            <a:off x="1340263" y="1809057"/>
            <a:ext cx="633187" cy="307777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bg1"/>
                </a:solidFill>
                <a:cs typeface="Arial" panose="020B0604020202020204" pitchFamily="34" charset="0"/>
              </a:rPr>
              <a:t>Phase</a:t>
            </a:r>
          </a:p>
        </p:txBody>
      </p:sp>
      <p:sp>
        <p:nvSpPr>
          <p:cNvPr id="275" name="Text Placeholder 6"/>
          <p:cNvSpPr txBox="1">
            <a:spLocks/>
          </p:cNvSpPr>
          <p:nvPr/>
        </p:nvSpPr>
        <p:spPr bwMode="gray">
          <a:xfrm>
            <a:off x="1340263" y="3068250"/>
            <a:ext cx="633187" cy="307777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accent1"/>
                </a:solidFill>
                <a:cs typeface="Arial" panose="020B0604020202020204" pitchFamily="34" charset="0"/>
              </a:rPr>
              <a:t>Phase</a:t>
            </a:r>
          </a:p>
        </p:txBody>
      </p:sp>
      <p:sp>
        <p:nvSpPr>
          <p:cNvPr id="276" name="Text Placeholder 6"/>
          <p:cNvSpPr txBox="1">
            <a:spLocks/>
          </p:cNvSpPr>
          <p:nvPr/>
        </p:nvSpPr>
        <p:spPr bwMode="gray">
          <a:xfrm>
            <a:off x="1340263" y="4327443"/>
            <a:ext cx="633187" cy="307777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bg1"/>
                </a:solidFill>
                <a:cs typeface="Arial" panose="020B0604020202020204" pitchFamily="34" charset="0"/>
              </a:rPr>
              <a:t>Phase</a:t>
            </a:r>
          </a:p>
        </p:txBody>
      </p:sp>
      <p:grpSp>
        <p:nvGrpSpPr>
          <p:cNvPr id="279" name="Group 278"/>
          <p:cNvGrpSpPr/>
          <p:nvPr/>
        </p:nvGrpSpPr>
        <p:grpSpPr>
          <a:xfrm>
            <a:off x="2560529" y="1801019"/>
            <a:ext cx="323850" cy="323850"/>
            <a:chOff x="428846" y="1801019"/>
            <a:chExt cx="323850" cy="323850"/>
          </a:xfrm>
        </p:grpSpPr>
        <p:sp>
          <p:nvSpPr>
            <p:cNvPr id="277" name="Oval 276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8" name="Chevron 277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0" name="Group 279"/>
          <p:cNvGrpSpPr/>
          <p:nvPr/>
        </p:nvGrpSpPr>
        <p:grpSpPr>
          <a:xfrm>
            <a:off x="2560529" y="3059908"/>
            <a:ext cx="323850" cy="323850"/>
            <a:chOff x="428846" y="1801019"/>
            <a:chExt cx="323850" cy="323850"/>
          </a:xfrm>
        </p:grpSpPr>
        <p:sp>
          <p:nvSpPr>
            <p:cNvPr id="281" name="Oval 280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2" name="Chevron 281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3" name="Group 282"/>
          <p:cNvGrpSpPr/>
          <p:nvPr/>
        </p:nvGrpSpPr>
        <p:grpSpPr>
          <a:xfrm>
            <a:off x="2560529" y="4318796"/>
            <a:ext cx="323850" cy="323850"/>
            <a:chOff x="428846" y="1801019"/>
            <a:chExt cx="323850" cy="323850"/>
          </a:xfrm>
        </p:grpSpPr>
        <p:sp>
          <p:nvSpPr>
            <p:cNvPr id="284" name="Oval 283"/>
            <p:cNvSpPr/>
            <p:nvPr/>
          </p:nvSpPr>
          <p:spPr>
            <a:xfrm>
              <a:off x="428846" y="1801019"/>
              <a:ext cx="323850" cy="32385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5" name="Chevron 284"/>
            <p:cNvSpPr/>
            <p:nvPr/>
          </p:nvSpPr>
          <p:spPr>
            <a:xfrm rot="5400000">
              <a:off x="540499" y="1877411"/>
              <a:ext cx="100544" cy="180593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66401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xtended Stakeholder Buy-i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6</a:t>
            </a:fld>
            <a:endParaRPr lang="en-US" dirty="0"/>
          </a:p>
        </p:txBody>
      </p:sp>
      <p:cxnSp>
        <p:nvCxnSpPr>
          <p:cNvPr id="184" name="Gerade Verbindung 5"/>
          <p:cNvCxnSpPr/>
          <p:nvPr/>
        </p:nvCxnSpPr>
        <p:spPr bwMode="gray">
          <a:xfrm>
            <a:off x="6096122" y="2479170"/>
            <a:ext cx="0" cy="662400"/>
          </a:xfrm>
          <a:prstGeom prst="line">
            <a:avLst/>
          </a:prstGeom>
          <a:ln w="12700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6"/>
          <p:cNvCxnSpPr/>
          <p:nvPr/>
        </p:nvCxnSpPr>
        <p:spPr bwMode="gray">
          <a:xfrm flipV="1">
            <a:off x="4710387" y="4241905"/>
            <a:ext cx="633477" cy="250358"/>
          </a:xfrm>
          <a:prstGeom prst="line">
            <a:avLst/>
          </a:prstGeom>
          <a:ln w="12700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7"/>
          <p:cNvCxnSpPr/>
          <p:nvPr/>
        </p:nvCxnSpPr>
        <p:spPr bwMode="gray">
          <a:xfrm>
            <a:off x="4679144" y="3548737"/>
            <a:ext cx="640800" cy="177737"/>
          </a:xfrm>
          <a:prstGeom prst="line">
            <a:avLst/>
          </a:prstGeom>
          <a:ln w="12700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8"/>
          <p:cNvCxnSpPr/>
          <p:nvPr/>
        </p:nvCxnSpPr>
        <p:spPr bwMode="gray">
          <a:xfrm flipH="1">
            <a:off x="6876882" y="3518005"/>
            <a:ext cx="630000" cy="195093"/>
          </a:xfrm>
          <a:prstGeom prst="line">
            <a:avLst/>
          </a:prstGeom>
          <a:ln w="12700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9"/>
          <p:cNvCxnSpPr/>
          <p:nvPr/>
        </p:nvCxnSpPr>
        <p:spPr bwMode="gray">
          <a:xfrm flipH="1" flipV="1">
            <a:off x="6867358" y="4206249"/>
            <a:ext cx="627242" cy="210649"/>
          </a:xfrm>
          <a:prstGeom prst="line">
            <a:avLst/>
          </a:prstGeom>
          <a:ln w="12700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0"/>
          <p:cNvCxnSpPr>
            <a:stCxn id="199" idx="1"/>
          </p:cNvCxnSpPr>
          <p:nvPr/>
        </p:nvCxnSpPr>
        <p:spPr bwMode="gray">
          <a:xfrm flipH="1" flipV="1">
            <a:off x="6548550" y="4618142"/>
            <a:ext cx="373963" cy="558043"/>
          </a:xfrm>
          <a:prstGeom prst="line">
            <a:avLst/>
          </a:prstGeom>
          <a:ln w="12700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1"/>
          <p:cNvCxnSpPr/>
          <p:nvPr/>
        </p:nvCxnSpPr>
        <p:spPr bwMode="gray">
          <a:xfrm flipV="1">
            <a:off x="5233780" y="4603856"/>
            <a:ext cx="396000" cy="540000"/>
          </a:xfrm>
          <a:prstGeom prst="line">
            <a:avLst/>
          </a:prstGeom>
          <a:ln w="12700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2"/>
          <p:cNvCxnSpPr/>
          <p:nvPr/>
        </p:nvCxnSpPr>
        <p:spPr bwMode="gray">
          <a:xfrm>
            <a:off x="5227186" y="2758403"/>
            <a:ext cx="394627" cy="540526"/>
          </a:xfrm>
          <a:prstGeom prst="line">
            <a:avLst/>
          </a:prstGeom>
          <a:ln w="12700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3"/>
          <p:cNvCxnSpPr/>
          <p:nvPr/>
        </p:nvCxnSpPr>
        <p:spPr bwMode="gray">
          <a:xfrm flipH="1">
            <a:off x="6574088" y="2760048"/>
            <a:ext cx="383243" cy="531738"/>
          </a:xfrm>
          <a:prstGeom prst="line">
            <a:avLst/>
          </a:prstGeom>
          <a:ln w="12700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Oval 5" descr="© INSCALE GmbH, 26.05.2010&#10;http://www.presentationload.com/"/>
          <p:cNvSpPr>
            <a:spLocks noChangeArrowheads="1"/>
          </p:cNvSpPr>
          <p:nvPr/>
        </p:nvSpPr>
        <p:spPr bwMode="gray">
          <a:xfrm>
            <a:off x="5290453" y="3139478"/>
            <a:ext cx="1620000" cy="1620000"/>
          </a:xfrm>
          <a:prstGeom prst="ellipse">
            <a:avLst/>
          </a:prstGeom>
          <a:solidFill>
            <a:schemeClr val="accent1"/>
          </a:solidFill>
          <a:ln w="1016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ctr" defTabSz="915006"/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</a:t>
            </a:r>
          </a:p>
        </p:txBody>
      </p:sp>
      <p:sp>
        <p:nvSpPr>
          <p:cNvPr id="194" name="Freeform 42" descr="© INSCALE GmbH, 26.05.2010&#10;http://www.presentationload.com/"/>
          <p:cNvSpPr>
            <a:spLocks/>
          </p:cNvSpPr>
          <p:nvPr/>
        </p:nvSpPr>
        <p:spPr bwMode="gray">
          <a:xfrm>
            <a:off x="4510531" y="1898057"/>
            <a:ext cx="936000" cy="936000"/>
          </a:xfrm>
          <a:prstGeom prst="ellipse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915006">
              <a:lnSpc>
                <a:spcPct val="95000"/>
              </a:lnSpc>
              <a:spcAft>
                <a:spcPts val="702"/>
              </a:spcAft>
              <a:buClr>
                <a:srgbClr val="969696"/>
              </a:buClr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</a:rPr>
              <a:t>Share-holder</a:t>
            </a:r>
          </a:p>
        </p:txBody>
      </p:sp>
      <p:sp>
        <p:nvSpPr>
          <p:cNvPr id="195" name="Freeform 42" descr="© INSCALE GmbH, 26.05.2010&#10;http://www.presentationload.com/"/>
          <p:cNvSpPr>
            <a:spLocks/>
          </p:cNvSpPr>
          <p:nvPr/>
        </p:nvSpPr>
        <p:spPr bwMode="gray">
          <a:xfrm>
            <a:off x="3787559" y="2881888"/>
            <a:ext cx="936000" cy="936000"/>
          </a:xfrm>
          <a:prstGeom prst="ellipse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915006">
              <a:lnSpc>
                <a:spcPct val="95000"/>
              </a:lnSpc>
              <a:spcAft>
                <a:spcPts val="702"/>
              </a:spcAft>
              <a:buClr>
                <a:srgbClr val="969696"/>
              </a:buClr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</a:rPr>
              <a:t>Banks</a:t>
            </a:r>
          </a:p>
        </p:txBody>
      </p:sp>
      <p:sp>
        <p:nvSpPr>
          <p:cNvPr id="196" name="Freeform 42" descr="© INSCALE GmbH, 26.05.2010&#10;http://www.presentationload.com/"/>
          <p:cNvSpPr>
            <a:spLocks/>
          </p:cNvSpPr>
          <p:nvPr/>
        </p:nvSpPr>
        <p:spPr bwMode="gray">
          <a:xfrm>
            <a:off x="3775635" y="4056121"/>
            <a:ext cx="936000" cy="936000"/>
          </a:xfrm>
          <a:prstGeom prst="ellipse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915006">
              <a:lnSpc>
                <a:spcPct val="95000"/>
              </a:lnSpc>
              <a:spcAft>
                <a:spcPts val="702"/>
              </a:spcAft>
              <a:buClr>
                <a:srgbClr val="969696"/>
              </a:buClr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</a:rPr>
              <a:t>Public</a:t>
            </a:r>
          </a:p>
        </p:txBody>
      </p:sp>
      <p:sp>
        <p:nvSpPr>
          <p:cNvPr id="197" name="Freeform 42" descr="© INSCALE GmbH, 26.05.2010&#10;http://www.presentationload.com/"/>
          <p:cNvSpPr>
            <a:spLocks/>
          </p:cNvSpPr>
          <p:nvPr/>
        </p:nvSpPr>
        <p:spPr bwMode="gray">
          <a:xfrm>
            <a:off x="4490854" y="5053397"/>
            <a:ext cx="936000" cy="936000"/>
          </a:xfrm>
          <a:prstGeom prst="ellipse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915006">
              <a:lnSpc>
                <a:spcPct val="95000"/>
              </a:lnSpc>
              <a:spcAft>
                <a:spcPts val="702"/>
              </a:spcAft>
              <a:buClr>
                <a:srgbClr val="969696"/>
              </a:buClr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</a:rPr>
              <a:t>Politics</a:t>
            </a:r>
          </a:p>
        </p:txBody>
      </p:sp>
      <p:sp>
        <p:nvSpPr>
          <p:cNvPr id="198" name="Freeform 42" descr="© INSCALE GmbH, 26.05.2010&#10;http://www.presentationload.com/"/>
          <p:cNvSpPr>
            <a:spLocks/>
          </p:cNvSpPr>
          <p:nvPr/>
        </p:nvSpPr>
        <p:spPr bwMode="gray">
          <a:xfrm>
            <a:off x="5632453" y="5419801"/>
            <a:ext cx="936000" cy="936000"/>
          </a:xfrm>
          <a:prstGeom prst="ellipse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915006">
              <a:lnSpc>
                <a:spcPct val="95000"/>
              </a:lnSpc>
              <a:spcAft>
                <a:spcPts val="702"/>
              </a:spcAft>
              <a:buClr>
                <a:srgbClr val="969696"/>
              </a:buClr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</a:rPr>
              <a:t>Unions</a:t>
            </a:r>
          </a:p>
        </p:txBody>
      </p:sp>
      <p:sp>
        <p:nvSpPr>
          <p:cNvPr id="199" name="Freeform 42" descr="© INSCALE GmbH, 26.05.2010&#10;http://www.presentationload.com/"/>
          <p:cNvSpPr>
            <a:spLocks/>
          </p:cNvSpPr>
          <p:nvPr/>
        </p:nvSpPr>
        <p:spPr bwMode="gray">
          <a:xfrm>
            <a:off x="6785439" y="5039111"/>
            <a:ext cx="936000" cy="936000"/>
          </a:xfrm>
          <a:prstGeom prst="ellipse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915006">
              <a:lnSpc>
                <a:spcPct val="95000"/>
              </a:lnSpc>
              <a:spcAft>
                <a:spcPts val="702"/>
              </a:spcAft>
              <a:buClr>
                <a:srgbClr val="969696"/>
              </a:buClr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</a:rPr>
              <a:t>Customer</a:t>
            </a:r>
          </a:p>
        </p:txBody>
      </p:sp>
      <p:sp>
        <p:nvSpPr>
          <p:cNvPr id="200" name="Freeform 42" descr="© INSCALE GmbH, 26.05.2010&#10;http://www.presentationload.com/"/>
          <p:cNvSpPr>
            <a:spLocks/>
          </p:cNvSpPr>
          <p:nvPr/>
        </p:nvSpPr>
        <p:spPr bwMode="gray">
          <a:xfrm>
            <a:off x="7480968" y="4057662"/>
            <a:ext cx="936000" cy="936000"/>
          </a:xfrm>
          <a:prstGeom prst="ellipse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915006">
              <a:lnSpc>
                <a:spcPct val="95000"/>
              </a:lnSpc>
              <a:spcAft>
                <a:spcPts val="702"/>
              </a:spcAft>
              <a:buClr>
                <a:srgbClr val="969696"/>
              </a:buClr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</a:rPr>
              <a:t>Supplier</a:t>
            </a:r>
          </a:p>
        </p:txBody>
      </p:sp>
      <p:sp>
        <p:nvSpPr>
          <p:cNvPr id="201" name="Freeform 42" descr="© INSCALE GmbH, 26.05.2010&#10;http://www.presentationload.com/"/>
          <p:cNvSpPr>
            <a:spLocks/>
          </p:cNvSpPr>
          <p:nvPr/>
        </p:nvSpPr>
        <p:spPr bwMode="gray">
          <a:xfrm>
            <a:off x="7467476" y="2867602"/>
            <a:ext cx="936000" cy="936000"/>
          </a:xfrm>
          <a:prstGeom prst="ellipse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915006">
              <a:lnSpc>
                <a:spcPct val="95000"/>
              </a:lnSpc>
              <a:spcAft>
                <a:spcPts val="702"/>
              </a:spcAft>
              <a:buClr>
                <a:srgbClr val="969696"/>
              </a:buClr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</a:rPr>
              <a:t>Employee</a:t>
            </a:r>
          </a:p>
        </p:txBody>
      </p:sp>
      <p:sp>
        <p:nvSpPr>
          <p:cNvPr id="202" name="Freeform 42" descr="© INSCALE GmbH, 26.05.2010&#10;http://www.presentationload.com/"/>
          <p:cNvSpPr>
            <a:spLocks/>
          </p:cNvSpPr>
          <p:nvPr/>
        </p:nvSpPr>
        <p:spPr bwMode="gray">
          <a:xfrm>
            <a:off x="6760545" y="1907581"/>
            <a:ext cx="936000" cy="936000"/>
          </a:xfrm>
          <a:prstGeom prst="ellipse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915006">
              <a:lnSpc>
                <a:spcPct val="95000"/>
              </a:lnSpc>
              <a:spcAft>
                <a:spcPts val="702"/>
              </a:spcAft>
              <a:buClr>
                <a:srgbClr val="969696"/>
              </a:buClr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</a:rPr>
              <a:t>Management</a:t>
            </a:r>
          </a:p>
        </p:txBody>
      </p:sp>
      <p:sp>
        <p:nvSpPr>
          <p:cNvPr id="203" name="Freeform 42" descr="© INSCALE GmbH, 26.05.2010&#10;http://www.presentationload.com/"/>
          <p:cNvSpPr>
            <a:spLocks/>
          </p:cNvSpPr>
          <p:nvPr/>
        </p:nvSpPr>
        <p:spPr bwMode="gray">
          <a:xfrm>
            <a:off x="5632453" y="1543155"/>
            <a:ext cx="936000" cy="936000"/>
          </a:xfrm>
          <a:prstGeom prst="ellipse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915006">
              <a:lnSpc>
                <a:spcPct val="95000"/>
              </a:lnSpc>
              <a:spcAft>
                <a:spcPts val="702"/>
              </a:spcAft>
              <a:buClr>
                <a:srgbClr val="969696"/>
              </a:buClr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</a:rPr>
              <a:t>Owner</a:t>
            </a:r>
          </a:p>
        </p:txBody>
      </p:sp>
      <p:sp>
        <p:nvSpPr>
          <p:cNvPr id="204" name="Ellipse 60"/>
          <p:cNvSpPr/>
          <p:nvPr/>
        </p:nvSpPr>
        <p:spPr bwMode="gray">
          <a:xfrm rot="20280000">
            <a:off x="4900187" y="4273609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54000" anchor="ctr"/>
          <a:lstStyle/>
          <a:p>
            <a:pPr algn="ctr" defTabSz="915006"/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" name="Ellipse 61"/>
          <p:cNvSpPr/>
          <p:nvPr/>
        </p:nvSpPr>
        <p:spPr bwMode="gray">
          <a:xfrm rot="1800000">
            <a:off x="5309524" y="4799206"/>
            <a:ext cx="216000" cy="216000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defTabSz="915006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6" name="Ellipse 62"/>
          <p:cNvSpPr/>
          <p:nvPr/>
        </p:nvSpPr>
        <p:spPr bwMode="gray">
          <a:xfrm>
            <a:off x="5992453" y="2665178"/>
            <a:ext cx="216000" cy="216000"/>
          </a:xfrm>
          <a:prstGeom prst="ellipse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defTabSz="915006"/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7" name="Ellipse 62"/>
          <p:cNvSpPr/>
          <p:nvPr/>
        </p:nvSpPr>
        <p:spPr bwMode="gray">
          <a:xfrm rot="2100000">
            <a:off x="6679855" y="2893793"/>
            <a:ext cx="216000" cy="216000"/>
          </a:xfrm>
          <a:prstGeom prst="ellipse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defTabSz="915006"/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8" name="Ellipse 62"/>
          <p:cNvSpPr/>
          <p:nvPr/>
        </p:nvSpPr>
        <p:spPr bwMode="gray">
          <a:xfrm rot="19620000">
            <a:off x="6651358" y="4817518"/>
            <a:ext cx="216000" cy="216000"/>
          </a:xfrm>
          <a:prstGeom prst="ellipse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defTabSz="915006"/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9" name="Ellipse 62"/>
          <p:cNvSpPr/>
          <p:nvPr/>
        </p:nvSpPr>
        <p:spPr bwMode="gray">
          <a:xfrm rot="900000">
            <a:off x="4863388" y="3518319"/>
            <a:ext cx="216000" cy="216000"/>
          </a:xfrm>
          <a:prstGeom prst="ellipse">
            <a:avLst/>
          </a:prstGeom>
          <a:solidFill>
            <a:schemeClr val="accent2"/>
          </a:solidFill>
          <a:ln w="1270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defTabSz="915006"/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0" name="Ellipse 61"/>
          <p:cNvSpPr/>
          <p:nvPr/>
        </p:nvSpPr>
        <p:spPr bwMode="gray">
          <a:xfrm rot="20640000">
            <a:off x="7122926" y="3497683"/>
            <a:ext cx="216000" cy="216000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defTabSz="915006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1" name="Ellipse 60"/>
          <p:cNvSpPr/>
          <p:nvPr/>
        </p:nvSpPr>
        <p:spPr bwMode="gray">
          <a:xfrm rot="1080000">
            <a:off x="7111521" y="4214854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54000" anchor="ctr"/>
          <a:lstStyle/>
          <a:p>
            <a:pPr algn="ctr" defTabSz="915006"/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2" name="Ellipse 61"/>
          <p:cNvSpPr/>
          <p:nvPr/>
        </p:nvSpPr>
        <p:spPr bwMode="gray">
          <a:xfrm rot="19500000">
            <a:off x="5295238" y="2892596"/>
            <a:ext cx="216000" cy="216000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defTabSz="915006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3" name="Gruppieren 47"/>
          <p:cNvGrpSpPr/>
          <p:nvPr/>
        </p:nvGrpSpPr>
        <p:grpSpPr bwMode="gray">
          <a:xfrm>
            <a:off x="617538" y="1495691"/>
            <a:ext cx="2230436" cy="950576"/>
            <a:chOff x="1749292" y="3306132"/>
            <a:chExt cx="2230436" cy="950576"/>
          </a:xfrm>
          <a:solidFill>
            <a:schemeClr val="accent5"/>
          </a:solidFill>
        </p:grpSpPr>
        <p:grpSp>
          <p:nvGrpSpPr>
            <p:cNvPr id="214" name="Gruppieren 46"/>
            <p:cNvGrpSpPr/>
            <p:nvPr/>
          </p:nvGrpSpPr>
          <p:grpSpPr bwMode="gray">
            <a:xfrm>
              <a:off x="1749296" y="3306132"/>
              <a:ext cx="2230432" cy="279361"/>
              <a:chOff x="1749296" y="3306132"/>
              <a:chExt cx="2230432" cy="279361"/>
            </a:xfrm>
            <a:grpFill/>
          </p:grpSpPr>
          <p:sp>
            <p:nvSpPr>
              <p:cNvPr id="221" name="Ellipse 62"/>
              <p:cNvSpPr/>
              <p:nvPr/>
            </p:nvSpPr>
            <p:spPr bwMode="gray">
              <a:xfrm>
                <a:off x="1749296" y="3355380"/>
                <a:ext cx="216000" cy="216000"/>
              </a:xfrm>
              <a:prstGeom prst="ellipse">
                <a:avLst/>
              </a:prstGeom>
              <a:solidFill>
                <a:schemeClr val="accent2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algn="ctr" defTabSz="915006"/>
                <a:endPara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2" name="Textplatzhalter 27"/>
              <p:cNvSpPr txBox="1">
                <a:spLocks/>
              </p:cNvSpPr>
              <p:nvPr/>
            </p:nvSpPr>
            <p:spPr bwMode="gray">
              <a:xfrm>
                <a:off x="2111467" y="3306132"/>
                <a:ext cx="1868261" cy="279361"/>
              </a:xfrm>
              <a:prstGeom prst="rect">
                <a:avLst/>
              </a:prstGeom>
              <a:noFill/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177800" indent="-177800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358775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717550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lang="de-DE" sz="1400" kern="1200" baseline="0" dirty="0">
                    <a:solidFill>
                      <a:srgbClr val="484F5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lang="de-DE" sz="1400" kern="1200" baseline="0" dirty="0">
                    <a:solidFill>
                      <a:srgbClr val="484F5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lang="de-DE" sz="1400" kern="1200" baseline="0" dirty="0">
                    <a:solidFill>
                      <a:srgbClr val="484F5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sz="1400" kern="120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2" indent="0">
                  <a:buNone/>
                </a:pPr>
                <a:r>
                  <a:rPr lang="en-US" sz="1200" dirty="0">
                    <a:solidFill>
                      <a:schemeClr val="tx1"/>
                    </a:solidFill>
                  </a:rPr>
                  <a:t>Advocate/Supporter</a:t>
                </a:r>
              </a:p>
            </p:txBody>
          </p:sp>
        </p:grpSp>
        <p:grpSp>
          <p:nvGrpSpPr>
            <p:cNvPr id="215" name="Gruppieren 45"/>
            <p:cNvGrpSpPr/>
            <p:nvPr/>
          </p:nvGrpSpPr>
          <p:grpSpPr bwMode="gray">
            <a:xfrm>
              <a:off x="1749292" y="3641740"/>
              <a:ext cx="2230434" cy="279361"/>
              <a:chOff x="1749292" y="3590341"/>
              <a:chExt cx="2230434" cy="279361"/>
            </a:xfrm>
            <a:grpFill/>
          </p:grpSpPr>
          <p:sp>
            <p:nvSpPr>
              <p:cNvPr id="219" name="Raute 39"/>
              <p:cNvSpPr/>
              <p:nvPr/>
            </p:nvSpPr>
            <p:spPr bwMode="gray">
              <a:xfrm>
                <a:off x="1749292" y="3639589"/>
                <a:ext cx="216000" cy="216000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915006"/>
                <a:endPara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0" name="Textplatzhalter 27"/>
              <p:cNvSpPr txBox="1">
                <a:spLocks/>
              </p:cNvSpPr>
              <p:nvPr/>
            </p:nvSpPr>
            <p:spPr bwMode="gray">
              <a:xfrm>
                <a:off x="2111466" y="3590341"/>
                <a:ext cx="1868260" cy="279361"/>
              </a:xfrm>
              <a:prstGeom prst="rect">
                <a:avLst/>
              </a:prstGeom>
              <a:noFill/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177800" indent="-177800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358775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717550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lang="de-DE" sz="1400" kern="1200" baseline="0" dirty="0">
                    <a:solidFill>
                      <a:srgbClr val="484F5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lang="de-DE" sz="1400" kern="1200" baseline="0" dirty="0">
                    <a:solidFill>
                      <a:srgbClr val="484F5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lang="de-DE" sz="1400" kern="1200" baseline="0" dirty="0">
                    <a:solidFill>
                      <a:srgbClr val="484F5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sz="1400" kern="120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2" indent="0">
                  <a:buNone/>
                </a:pPr>
                <a:r>
                  <a:rPr lang="en-US" sz="1200" dirty="0">
                    <a:solidFill>
                      <a:schemeClr val="tx1"/>
                    </a:solidFill>
                  </a:rPr>
                  <a:t>Neutral</a:t>
                </a:r>
              </a:p>
            </p:txBody>
          </p:sp>
        </p:grpSp>
        <p:grpSp>
          <p:nvGrpSpPr>
            <p:cNvPr id="216" name="Gruppieren 44"/>
            <p:cNvGrpSpPr/>
            <p:nvPr/>
          </p:nvGrpSpPr>
          <p:grpSpPr bwMode="gray">
            <a:xfrm>
              <a:off x="1749297" y="3977347"/>
              <a:ext cx="2230431" cy="279361"/>
              <a:chOff x="1749297" y="3909210"/>
              <a:chExt cx="2230431" cy="279361"/>
            </a:xfrm>
            <a:grpFill/>
          </p:grpSpPr>
          <p:sp>
            <p:nvSpPr>
              <p:cNvPr id="217" name="Ellipse 60"/>
              <p:cNvSpPr/>
              <p:nvPr/>
            </p:nvSpPr>
            <p:spPr bwMode="gray">
              <a:xfrm>
                <a:off x="1749297" y="3958458"/>
                <a:ext cx="216000" cy="2160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0" tIns="0" rIns="0" bIns="54000" anchor="ctr"/>
              <a:lstStyle/>
              <a:p>
                <a:pPr algn="ctr" defTabSz="915006"/>
                <a:endParaRPr lang="en-US" sz="12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8" name="Textplatzhalter 27"/>
              <p:cNvSpPr txBox="1">
                <a:spLocks/>
              </p:cNvSpPr>
              <p:nvPr/>
            </p:nvSpPr>
            <p:spPr bwMode="gray">
              <a:xfrm>
                <a:off x="2111467" y="3909210"/>
                <a:ext cx="1868261" cy="279361"/>
              </a:xfrm>
              <a:prstGeom prst="rect">
                <a:avLst/>
              </a:prstGeom>
              <a:noFill/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8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177800" indent="-177800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358775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717550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–"/>
                  <a:defRPr sz="1400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lang="de-DE" sz="1400" kern="1200" baseline="0" dirty="0">
                    <a:solidFill>
                      <a:srgbClr val="484F5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6pPr>
                <a:lvl7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lang="de-DE" sz="1400" kern="1200" baseline="0" dirty="0">
                    <a:solidFill>
                      <a:srgbClr val="484F5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7pPr>
                <a:lvl8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lang="de-DE" sz="1400" kern="1200" baseline="0" dirty="0">
                    <a:solidFill>
                      <a:srgbClr val="484F5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8pPr>
                <a:lvl9pPr marL="896938" indent="-179388" algn="l" defTabSz="914400" rtl="0" eaLnBrk="1" latinLnBrk="0" hangingPunct="1">
                  <a:lnSpc>
                    <a:spcPts val="2160"/>
                  </a:lnSpc>
                  <a:spcBef>
                    <a:spcPts val="0"/>
                  </a:spcBef>
                  <a:buFont typeface="Arial" panose="020B0604020202020204" pitchFamily="34" charset="0"/>
                  <a:buChar char="‒"/>
                  <a:defRPr sz="1400" kern="120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2" indent="0">
                  <a:buNone/>
                </a:pPr>
                <a:r>
                  <a:rPr lang="en-US" sz="1200" dirty="0">
                    <a:solidFill>
                      <a:schemeClr val="tx1"/>
                    </a:solidFill>
                  </a:rPr>
                  <a:t>Critic / Blocker</a:t>
                </a:r>
              </a:p>
            </p:txBody>
          </p:sp>
        </p:grpSp>
      </p:grpSp>
      <p:cxnSp>
        <p:nvCxnSpPr>
          <p:cNvPr id="223" name="Gerade Verbindung 82"/>
          <p:cNvCxnSpPr/>
          <p:nvPr/>
        </p:nvCxnSpPr>
        <p:spPr bwMode="gray">
          <a:xfrm>
            <a:off x="6096122" y="4759478"/>
            <a:ext cx="0" cy="662400"/>
          </a:xfrm>
          <a:prstGeom prst="line">
            <a:avLst/>
          </a:prstGeom>
          <a:ln w="12700">
            <a:solidFill>
              <a:schemeClr val="accent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Ellipse 60"/>
          <p:cNvSpPr/>
          <p:nvPr/>
        </p:nvSpPr>
        <p:spPr bwMode="gray">
          <a:xfrm>
            <a:off x="5992453" y="5017778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54000" anchor="ctr"/>
          <a:lstStyle/>
          <a:p>
            <a:pPr algn="ctr" defTabSz="915006"/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5" name="Gerade Verbindung 6"/>
          <p:cNvCxnSpPr/>
          <p:nvPr/>
        </p:nvCxnSpPr>
        <p:spPr bwMode="gray">
          <a:xfrm>
            <a:off x="389091" y="3368867"/>
            <a:ext cx="3114216" cy="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  <a:prstDash val="soli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Gerade Verbindung 6"/>
          <p:cNvCxnSpPr/>
          <p:nvPr/>
        </p:nvCxnSpPr>
        <p:spPr bwMode="gray">
          <a:xfrm>
            <a:off x="389091" y="4509686"/>
            <a:ext cx="3114216" cy="12517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  <a:prstDash val="soli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Gerade Verbindung 6"/>
          <p:cNvCxnSpPr/>
          <p:nvPr/>
        </p:nvCxnSpPr>
        <p:spPr bwMode="gray">
          <a:xfrm>
            <a:off x="389091" y="5528925"/>
            <a:ext cx="3814877" cy="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  <a:prstDash val="solid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Text Placeholder 6"/>
          <p:cNvSpPr txBox="1">
            <a:spLocks/>
          </p:cNvSpPr>
          <p:nvPr/>
        </p:nvSpPr>
        <p:spPr bwMode="gray">
          <a:xfrm>
            <a:off x="389091" y="3261820"/>
            <a:ext cx="2731734" cy="578681"/>
          </a:xfrm>
          <a:prstGeom prst="round2SameRect">
            <a:avLst>
              <a:gd name="adj1" fmla="val 0"/>
              <a:gd name="adj2" fmla="val 22221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chemeClr val="bg2"/>
              </a:buClr>
              <a:buNone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 this blurb with other details.</a:t>
            </a:r>
          </a:p>
        </p:txBody>
      </p:sp>
      <p:cxnSp>
        <p:nvCxnSpPr>
          <p:cNvPr id="231" name="Gerade Verbindung 6"/>
          <p:cNvCxnSpPr/>
          <p:nvPr/>
        </p:nvCxnSpPr>
        <p:spPr bwMode="gray">
          <a:xfrm>
            <a:off x="7926231" y="2268334"/>
            <a:ext cx="3908200" cy="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Gerade Verbindung 6"/>
          <p:cNvCxnSpPr/>
          <p:nvPr/>
        </p:nvCxnSpPr>
        <p:spPr bwMode="gray">
          <a:xfrm>
            <a:off x="8626893" y="3423250"/>
            <a:ext cx="3206666" cy="4792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Gerade Verbindung 6"/>
          <p:cNvCxnSpPr/>
          <p:nvPr/>
        </p:nvCxnSpPr>
        <p:spPr bwMode="gray">
          <a:xfrm>
            <a:off x="8627765" y="4410302"/>
            <a:ext cx="3206666" cy="4792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Text Placeholder 6"/>
          <p:cNvSpPr txBox="1">
            <a:spLocks/>
          </p:cNvSpPr>
          <p:nvPr/>
        </p:nvSpPr>
        <p:spPr bwMode="gray">
          <a:xfrm>
            <a:off x="389091" y="4415156"/>
            <a:ext cx="2731734" cy="578681"/>
          </a:xfrm>
          <a:prstGeom prst="round2SameRect">
            <a:avLst>
              <a:gd name="adj1" fmla="val 0"/>
              <a:gd name="adj2" fmla="val 22221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chemeClr val="bg2"/>
              </a:buClr>
              <a:buNone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 this blurb with other details.</a:t>
            </a:r>
          </a:p>
        </p:txBody>
      </p:sp>
      <p:sp>
        <p:nvSpPr>
          <p:cNvPr id="238" name="Text Placeholder 6"/>
          <p:cNvSpPr txBox="1">
            <a:spLocks/>
          </p:cNvSpPr>
          <p:nvPr/>
        </p:nvSpPr>
        <p:spPr bwMode="gray">
          <a:xfrm>
            <a:off x="389091" y="5421878"/>
            <a:ext cx="2731734" cy="578681"/>
          </a:xfrm>
          <a:prstGeom prst="round2SameRect">
            <a:avLst>
              <a:gd name="adj1" fmla="val 0"/>
              <a:gd name="adj2" fmla="val 22221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chemeClr val="bg2"/>
              </a:buClr>
              <a:buNone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 this blurb with other details.</a:t>
            </a:r>
          </a:p>
        </p:txBody>
      </p:sp>
      <p:sp>
        <p:nvSpPr>
          <p:cNvPr id="239" name="Right Triangle 238"/>
          <p:cNvSpPr/>
          <p:nvPr/>
        </p:nvSpPr>
        <p:spPr>
          <a:xfrm>
            <a:off x="3120825" y="3261820"/>
            <a:ext cx="89100" cy="107047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0" name="Right Triangle 239"/>
          <p:cNvSpPr/>
          <p:nvPr/>
        </p:nvSpPr>
        <p:spPr>
          <a:xfrm>
            <a:off x="3120825" y="4415156"/>
            <a:ext cx="89100" cy="107047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1" name="Right Triangle 240"/>
          <p:cNvSpPr/>
          <p:nvPr/>
        </p:nvSpPr>
        <p:spPr>
          <a:xfrm>
            <a:off x="3120825" y="5421878"/>
            <a:ext cx="89100" cy="107047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2" name="Text Placeholder 6"/>
          <p:cNvSpPr txBox="1">
            <a:spLocks/>
          </p:cNvSpPr>
          <p:nvPr/>
        </p:nvSpPr>
        <p:spPr bwMode="gray">
          <a:xfrm>
            <a:off x="9102697" y="2167792"/>
            <a:ext cx="2731734" cy="578681"/>
          </a:xfrm>
          <a:prstGeom prst="round2SameRect">
            <a:avLst>
              <a:gd name="adj1" fmla="val 0"/>
              <a:gd name="adj2" fmla="val 22221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chemeClr val="bg2"/>
              </a:buClr>
              <a:buNone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 this blurb with other details.</a:t>
            </a:r>
          </a:p>
        </p:txBody>
      </p:sp>
      <p:sp>
        <p:nvSpPr>
          <p:cNvPr id="243" name="Right Triangle 242"/>
          <p:cNvSpPr/>
          <p:nvPr/>
        </p:nvSpPr>
        <p:spPr>
          <a:xfrm flipH="1">
            <a:off x="9013597" y="2167792"/>
            <a:ext cx="89100" cy="107047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6" name="Text Placeholder 6"/>
          <p:cNvSpPr txBox="1">
            <a:spLocks/>
          </p:cNvSpPr>
          <p:nvPr/>
        </p:nvSpPr>
        <p:spPr bwMode="gray">
          <a:xfrm>
            <a:off x="9102697" y="3321789"/>
            <a:ext cx="2731734" cy="578681"/>
          </a:xfrm>
          <a:prstGeom prst="round2SameRect">
            <a:avLst>
              <a:gd name="adj1" fmla="val 0"/>
              <a:gd name="adj2" fmla="val 22221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chemeClr val="bg2"/>
              </a:buClr>
              <a:buNone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 this blurb with other details.</a:t>
            </a:r>
          </a:p>
        </p:txBody>
      </p:sp>
      <p:sp>
        <p:nvSpPr>
          <p:cNvPr id="247" name="Right Triangle 246"/>
          <p:cNvSpPr/>
          <p:nvPr/>
        </p:nvSpPr>
        <p:spPr>
          <a:xfrm flipH="1">
            <a:off x="9013597" y="3321789"/>
            <a:ext cx="89100" cy="107047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9" name="Text Placeholder 6"/>
          <p:cNvSpPr txBox="1">
            <a:spLocks/>
          </p:cNvSpPr>
          <p:nvPr/>
        </p:nvSpPr>
        <p:spPr bwMode="gray">
          <a:xfrm>
            <a:off x="9102697" y="4306895"/>
            <a:ext cx="2731734" cy="578681"/>
          </a:xfrm>
          <a:prstGeom prst="round2SameRect">
            <a:avLst>
              <a:gd name="adj1" fmla="val 0"/>
              <a:gd name="adj2" fmla="val 22221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/>
              </a:gs>
            </a:gsLst>
            <a:lin ang="5400000" scaled="0"/>
          </a:gradFill>
        </p:spPr>
        <p:txBody>
          <a:bodyPr lIns="108000" tIns="72000" rIns="108000" bIns="72000" anchor="ctr"/>
          <a:lstStyle>
            <a:lvl1pPr marL="0" indent="0" algn="l" defTabSz="1221456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1221456" rtl="0" eaLnBrk="1" latinLnBrk="0" hangingPunct="1">
              <a:spcBef>
                <a:spcPts val="200"/>
              </a:spcBef>
              <a:spcAft>
                <a:spcPts val="300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chemeClr val="bg2"/>
              </a:buClr>
              <a:buNone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e this blurb with other details.</a:t>
            </a:r>
          </a:p>
        </p:txBody>
      </p:sp>
      <p:sp>
        <p:nvSpPr>
          <p:cNvPr id="250" name="Right Triangle 249"/>
          <p:cNvSpPr/>
          <p:nvPr/>
        </p:nvSpPr>
        <p:spPr>
          <a:xfrm flipH="1">
            <a:off x="9013597" y="4306895"/>
            <a:ext cx="89100" cy="107047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8440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2" name="Rectangle 151"/>
          <p:cNvSpPr/>
          <p:nvPr/>
        </p:nvSpPr>
        <p:spPr>
          <a:xfrm>
            <a:off x="2802141" y="1625600"/>
            <a:ext cx="2132013" cy="297501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Rectangle 147"/>
          <p:cNvSpPr/>
          <p:nvPr/>
        </p:nvSpPr>
        <p:spPr>
          <a:xfrm>
            <a:off x="591180" y="1625600"/>
            <a:ext cx="2132013" cy="297501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Rectangle 154"/>
          <p:cNvSpPr/>
          <p:nvPr/>
        </p:nvSpPr>
        <p:spPr>
          <a:xfrm>
            <a:off x="5013102" y="1625600"/>
            <a:ext cx="2132013" cy="297501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 157"/>
          <p:cNvSpPr/>
          <p:nvPr/>
        </p:nvSpPr>
        <p:spPr>
          <a:xfrm>
            <a:off x="7224062" y="1625600"/>
            <a:ext cx="2132013" cy="297501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Rectangle 160"/>
          <p:cNvSpPr/>
          <p:nvPr/>
        </p:nvSpPr>
        <p:spPr>
          <a:xfrm>
            <a:off x="9435022" y="1625600"/>
            <a:ext cx="2132013" cy="297501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0" name="Straight Connector 179"/>
          <p:cNvCxnSpPr>
            <a:stCxn id="173" idx="0"/>
            <a:endCxn id="162" idx="1"/>
          </p:cNvCxnSpPr>
          <p:nvPr/>
        </p:nvCxnSpPr>
        <p:spPr>
          <a:xfrm flipV="1">
            <a:off x="2633228" y="1628192"/>
            <a:ext cx="6966394" cy="1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Isosceles Triangle 172"/>
          <p:cNvSpPr/>
          <p:nvPr/>
        </p:nvSpPr>
        <p:spPr>
          <a:xfrm rot="5400000">
            <a:off x="2455577" y="1561879"/>
            <a:ext cx="222674" cy="132628"/>
          </a:xfrm>
          <a:prstGeom prst="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Isosceles Triangle 174"/>
          <p:cNvSpPr/>
          <p:nvPr/>
        </p:nvSpPr>
        <p:spPr>
          <a:xfrm rot="5400000">
            <a:off x="4666538" y="1561879"/>
            <a:ext cx="222674" cy="132628"/>
          </a:xfrm>
          <a:prstGeom prst="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Isosceles Triangle 175"/>
          <p:cNvSpPr/>
          <p:nvPr/>
        </p:nvSpPr>
        <p:spPr>
          <a:xfrm rot="5400000">
            <a:off x="6877499" y="1561879"/>
            <a:ext cx="222674" cy="132628"/>
          </a:xfrm>
          <a:prstGeom prst="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7" name="Isosceles Triangle 176"/>
          <p:cNvSpPr/>
          <p:nvPr/>
        </p:nvSpPr>
        <p:spPr>
          <a:xfrm rot="5400000">
            <a:off x="9088460" y="1561879"/>
            <a:ext cx="222674" cy="132628"/>
          </a:xfrm>
          <a:prstGeom prst="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Rounded Rectangle 152"/>
          <p:cNvSpPr/>
          <p:nvPr/>
        </p:nvSpPr>
        <p:spPr>
          <a:xfrm>
            <a:off x="2966741" y="1446770"/>
            <a:ext cx="1791477" cy="36284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CHALLENGE 2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oad Map Statu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105" name="Textfeld 18"/>
          <p:cNvSpPr txBox="1"/>
          <p:nvPr/>
        </p:nvSpPr>
        <p:spPr bwMode="gray">
          <a:xfrm>
            <a:off x="7224061" y="5580084"/>
            <a:ext cx="2132013" cy="405993"/>
          </a:xfrm>
          <a:prstGeom prst="round2SameRect">
            <a:avLst>
              <a:gd name="adj1" fmla="val 0"/>
              <a:gd name="adj2" fmla="val 17010"/>
            </a:avLst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</p:spPr>
        <p:txBody>
          <a:bodyPr wrap="none" tIns="72000" bIns="0" rtlCol="0">
            <a:noAutofit/>
          </a:bodyPr>
          <a:lstStyle/>
          <a:p>
            <a:pPr algn="ctr" defTabSz="915006"/>
            <a:r>
              <a:rPr lang="en-US" sz="1600" b="1" noProof="1">
                <a:solidFill>
                  <a:schemeClr val="bg1"/>
                </a:solidFill>
                <a:cs typeface="Arial" panose="020B0604020202020204" pitchFamily="34" charset="0"/>
              </a:rPr>
              <a:t>TOCK</a:t>
            </a:r>
          </a:p>
        </p:txBody>
      </p:sp>
      <p:sp>
        <p:nvSpPr>
          <p:cNvPr id="108" name="Textfeld 20"/>
          <p:cNvSpPr txBox="1"/>
          <p:nvPr/>
        </p:nvSpPr>
        <p:spPr bwMode="gray">
          <a:xfrm>
            <a:off x="9435022" y="5580084"/>
            <a:ext cx="2132013" cy="405993"/>
          </a:xfrm>
          <a:prstGeom prst="round2SameRect">
            <a:avLst>
              <a:gd name="adj1" fmla="val 0"/>
              <a:gd name="adj2" fmla="val 17596"/>
            </a:avLst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</p:spPr>
        <p:txBody>
          <a:bodyPr wrap="none" tIns="72000" bIns="0" rtlCol="0">
            <a:noAutofit/>
          </a:bodyPr>
          <a:lstStyle/>
          <a:p>
            <a:pPr algn="ctr" defTabSz="915006"/>
            <a:r>
              <a:rPr lang="en-US" sz="1600" b="1" noProof="1">
                <a:solidFill>
                  <a:schemeClr val="bg1"/>
                </a:solidFill>
                <a:cs typeface="Arial" panose="020B0604020202020204" pitchFamily="34" charset="0"/>
              </a:rPr>
              <a:t>TICK</a:t>
            </a:r>
          </a:p>
        </p:txBody>
      </p:sp>
      <p:sp>
        <p:nvSpPr>
          <p:cNvPr id="136" name="Ellipse 62"/>
          <p:cNvSpPr/>
          <p:nvPr/>
        </p:nvSpPr>
        <p:spPr bwMode="gray">
          <a:xfrm>
            <a:off x="5771521" y="4787518"/>
            <a:ext cx="614511" cy="614511"/>
          </a:xfrm>
          <a:prstGeom prst="ellipse">
            <a:avLst/>
          </a:prstGeom>
          <a:noFill/>
          <a:ln w="15875" cmpd="sng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5006"/>
            <a:endParaRPr lang="en-US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37" name="Ellipse 62"/>
          <p:cNvSpPr/>
          <p:nvPr/>
        </p:nvSpPr>
        <p:spPr bwMode="gray">
          <a:xfrm>
            <a:off x="7982646" y="4787518"/>
            <a:ext cx="614511" cy="614511"/>
          </a:xfrm>
          <a:prstGeom prst="ellipse">
            <a:avLst/>
          </a:prstGeom>
          <a:noFill/>
          <a:ln w="15875" cmpd="sng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5006"/>
            <a:endParaRPr lang="en-US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38" name="Ellipse 62"/>
          <p:cNvSpPr/>
          <p:nvPr/>
        </p:nvSpPr>
        <p:spPr bwMode="gray">
          <a:xfrm>
            <a:off x="10193773" y="4787518"/>
            <a:ext cx="614511" cy="614511"/>
          </a:xfrm>
          <a:prstGeom prst="ellipse">
            <a:avLst/>
          </a:prstGeom>
          <a:noFill/>
          <a:ln w="15875" cmpd="sng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5006"/>
            <a:endParaRPr lang="en-US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39" name="Ellipse 62"/>
          <p:cNvSpPr/>
          <p:nvPr/>
        </p:nvSpPr>
        <p:spPr bwMode="gray">
          <a:xfrm>
            <a:off x="3560396" y="4787518"/>
            <a:ext cx="614511" cy="614511"/>
          </a:xfrm>
          <a:prstGeom prst="ellipse">
            <a:avLst/>
          </a:prstGeom>
          <a:noFill/>
          <a:ln w="15875" cmpd="sng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5006"/>
            <a:endParaRPr lang="en-US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0" name="Ellipse 62"/>
          <p:cNvSpPr/>
          <p:nvPr/>
        </p:nvSpPr>
        <p:spPr bwMode="gray">
          <a:xfrm>
            <a:off x="1349271" y="4787518"/>
            <a:ext cx="614511" cy="614511"/>
          </a:xfrm>
          <a:prstGeom prst="ellipse">
            <a:avLst/>
          </a:prstGeom>
          <a:noFill/>
          <a:ln w="15875" cmpd="sng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5006"/>
            <a:endParaRPr lang="en-US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56" name="Rounded Rectangle 155"/>
          <p:cNvSpPr/>
          <p:nvPr/>
        </p:nvSpPr>
        <p:spPr>
          <a:xfrm>
            <a:off x="5177702" y="1446770"/>
            <a:ext cx="1791477" cy="36284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CHALLENGE 3</a:t>
            </a:r>
          </a:p>
        </p:txBody>
      </p:sp>
      <p:sp>
        <p:nvSpPr>
          <p:cNvPr id="159" name="Rounded Rectangle 158"/>
          <p:cNvSpPr/>
          <p:nvPr/>
        </p:nvSpPr>
        <p:spPr>
          <a:xfrm>
            <a:off x="7388662" y="1446770"/>
            <a:ext cx="1791477" cy="36284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CHALLENGE 4</a:t>
            </a:r>
          </a:p>
        </p:txBody>
      </p:sp>
      <p:sp>
        <p:nvSpPr>
          <p:cNvPr id="149" name="Rounded Rectangle 148"/>
          <p:cNvSpPr/>
          <p:nvPr/>
        </p:nvSpPr>
        <p:spPr>
          <a:xfrm>
            <a:off x="755780" y="1446770"/>
            <a:ext cx="1791477" cy="36284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CHALLENGE 1</a:t>
            </a:r>
          </a:p>
        </p:txBody>
      </p:sp>
      <p:sp>
        <p:nvSpPr>
          <p:cNvPr id="162" name="Rounded Rectangle 161"/>
          <p:cNvSpPr/>
          <p:nvPr/>
        </p:nvSpPr>
        <p:spPr>
          <a:xfrm>
            <a:off x="9599622" y="1446770"/>
            <a:ext cx="1791477" cy="36284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CHALLENGE 5</a:t>
            </a:r>
          </a:p>
        </p:txBody>
      </p:sp>
      <p:sp>
        <p:nvSpPr>
          <p:cNvPr id="163" name="Textplatzhalter 12"/>
          <p:cNvSpPr txBox="1">
            <a:spLocks/>
          </p:cNvSpPr>
          <p:nvPr/>
        </p:nvSpPr>
        <p:spPr bwMode="gray">
          <a:xfrm>
            <a:off x="761448" y="1978521"/>
            <a:ext cx="1791477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w your own text will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ook when you replace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placeholder with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r own text.</a:t>
            </a:r>
          </a:p>
        </p:txBody>
      </p:sp>
      <p:sp>
        <p:nvSpPr>
          <p:cNvPr id="164" name="Textplatzhalter 12"/>
          <p:cNvSpPr txBox="1">
            <a:spLocks/>
          </p:cNvSpPr>
          <p:nvPr/>
        </p:nvSpPr>
        <p:spPr bwMode="gray">
          <a:xfrm>
            <a:off x="2972409" y="1978521"/>
            <a:ext cx="1791477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w your own text will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ook when you replace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placeholder with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r own text.</a:t>
            </a:r>
          </a:p>
        </p:txBody>
      </p:sp>
      <p:sp>
        <p:nvSpPr>
          <p:cNvPr id="165" name="Textplatzhalter 12"/>
          <p:cNvSpPr txBox="1">
            <a:spLocks/>
          </p:cNvSpPr>
          <p:nvPr/>
        </p:nvSpPr>
        <p:spPr bwMode="gray">
          <a:xfrm>
            <a:off x="5183370" y="1978521"/>
            <a:ext cx="1791477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w your own text will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ook when you replace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placeholder with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r own text.</a:t>
            </a:r>
          </a:p>
        </p:txBody>
      </p:sp>
      <p:sp>
        <p:nvSpPr>
          <p:cNvPr id="166" name="Textplatzhalter 12"/>
          <p:cNvSpPr txBox="1">
            <a:spLocks/>
          </p:cNvSpPr>
          <p:nvPr/>
        </p:nvSpPr>
        <p:spPr bwMode="gray">
          <a:xfrm>
            <a:off x="7394331" y="1978521"/>
            <a:ext cx="1791477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w your own text will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ook when you replace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placeholder with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r own text.</a:t>
            </a:r>
          </a:p>
        </p:txBody>
      </p:sp>
      <p:sp>
        <p:nvSpPr>
          <p:cNvPr id="167" name="Textplatzhalter 12"/>
          <p:cNvSpPr txBox="1">
            <a:spLocks/>
          </p:cNvSpPr>
          <p:nvPr/>
        </p:nvSpPr>
        <p:spPr bwMode="gray">
          <a:xfrm>
            <a:off x="9605290" y="1978521"/>
            <a:ext cx="1791477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w your own text will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ook when you replace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placeholder with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r own text.</a:t>
            </a:r>
          </a:p>
        </p:txBody>
      </p:sp>
      <p:sp>
        <p:nvSpPr>
          <p:cNvPr id="103" name="Abgerundetes Rechteck 75"/>
          <p:cNvSpPr/>
          <p:nvPr/>
        </p:nvSpPr>
        <p:spPr bwMode="gray">
          <a:xfrm>
            <a:off x="5841462" y="4311178"/>
            <a:ext cx="477131" cy="273329"/>
          </a:xfrm>
          <a:prstGeom prst="roundRect">
            <a:avLst>
              <a:gd name="adj" fmla="val 6505"/>
            </a:avLst>
          </a:prstGeom>
          <a:noFill/>
          <a:ln w="12700">
            <a:noFill/>
            <a:miter lim="800000"/>
            <a:headEnd/>
            <a:tailEnd/>
          </a:ln>
          <a:effectLst/>
          <a:scene3d>
            <a:camera prst="orthographicFront"/>
            <a:lightRig rig="balanced" dir="t"/>
          </a:scene3d>
          <a:sp3d/>
        </p:spPr>
        <p:txBody>
          <a:bodyPr wrap="none" lIns="0" tIns="0" rIns="0" bIns="0" anchor="ctr" anchorCtr="0">
            <a:spAutoFit/>
          </a:bodyPr>
          <a:lstStyle/>
          <a:p>
            <a:pPr marL="167204" indent="-167204" algn="ctr" defTabSz="915006">
              <a:lnSpc>
                <a:spcPct val="95000"/>
              </a:lnSpc>
              <a:spcAft>
                <a:spcPts val="351"/>
              </a:spcAft>
              <a:buClr>
                <a:srgbClr val="808080"/>
              </a:buClr>
              <a:defRPr/>
            </a:pPr>
            <a:r>
              <a:rPr lang="en-US" b="1" noProof="1">
                <a:solidFill>
                  <a:schemeClr val="accent1"/>
                </a:solidFill>
                <a:cs typeface="Arial" charset="0"/>
              </a:rPr>
              <a:t>2022</a:t>
            </a:r>
          </a:p>
        </p:txBody>
      </p:sp>
      <p:sp>
        <p:nvSpPr>
          <p:cNvPr id="106" name="Abgerundetes Rechteck 76"/>
          <p:cNvSpPr/>
          <p:nvPr/>
        </p:nvSpPr>
        <p:spPr bwMode="gray">
          <a:xfrm>
            <a:off x="8054427" y="4311178"/>
            <a:ext cx="477131" cy="273329"/>
          </a:xfrm>
          <a:prstGeom prst="roundRect">
            <a:avLst>
              <a:gd name="adj" fmla="val 6505"/>
            </a:avLst>
          </a:prstGeom>
          <a:noFill/>
          <a:ln w="12700">
            <a:noFill/>
            <a:miter lim="800000"/>
            <a:headEnd/>
            <a:tailEnd/>
          </a:ln>
          <a:effectLst/>
          <a:scene3d>
            <a:camera prst="orthographicFront"/>
            <a:lightRig rig="balanced" dir="t"/>
          </a:scene3d>
          <a:sp3d/>
        </p:spPr>
        <p:txBody>
          <a:bodyPr wrap="none" lIns="0" tIns="0" rIns="0" bIns="0" anchor="ctr" anchorCtr="0">
            <a:spAutoFit/>
          </a:bodyPr>
          <a:lstStyle/>
          <a:p>
            <a:pPr marL="167204" indent="-167204" algn="ctr" defTabSz="915006">
              <a:lnSpc>
                <a:spcPct val="95000"/>
              </a:lnSpc>
              <a:spcAft>
                <a:spcPts val="351"/>
              </a:spcAft>
              <a:buClr>
                <a:srgbClr val="808080"/>
              </a:buClr>
              <a:defRPr/>
            </a:pPr>
            <a:r>
              <a:rPr lang="en-US" b="1" noProof="1">
                <a:solidFill>
                  <a:schemeClr val="accent1"/>
                </a:solidFill>
                <a:cs typeface="Arial" charset="0"/>
              </a:rPr>
              <a:t>2023</a:t>
            </a:r>
          </a:p>
        </p:txBody>
      </p:sp>
      <p:sp>
        <p:nvSpPr>
          <p:cNvPr id="109" name="Abgerundetes Rechteck 77"/>
          <p:cNvSpPr/>
          <p:nvPr/>
        </p:nvSpPr>
        <p:spPr bwMode="gray">
          <a:xfrm>
            <a:off x="10266476" y="4311178"/>
            <a:ext cx="477131" cy="273329"/>
          </a:xfrm>
          <a:prstGeom prst="roundRect">
            <a:avLst>
              <a:gd name="adj" fmla="val 6505"/>
            </a:avLst>
          </a:prstGeom>
          <a:noFill/>
          <a:ln w="12700">
            <a:noFill/>
            <a:miter lim="800000"/>
            <a:headEnd/>
            <a:tailEnd/>
          </a:ln>
          <a:effectLst/>
          <a:scene3d>
            <a:camera prst="orthographicFront"/>
            <a:lightRig rig="balanced" dir="t"/>
          </a:scene3d>
          <a:sp3d/>
        </p:spPr>
        <p:txBody>
          <a:bodyPr wrap="none" lIns="0" tIns="0" rIns="0" bIns="0" anchor="ctr" anchorCtr="0">
            <a:spAutoFit/>
          </a:bodyPr>
          <a:lstStyle/>
          <a:p>
            <a:pPr marL="167204" indent="-167204" algn="ctr" defTabSz="915006">
              <a:lnSpc>
                <a:spcPct val="95000"/>
              </a:lnSpc>
              <a:spcAft>
                <a:spcPts val="351"/>
              </a:spcAft>
              <a:buClr>
                <a:srgbClr val="808080"/>
              </a:buClr>
              <a:defRPr/>
            </a:pPr>
            <a:r>
              <a:rPr lang="en-US" b="1" noProof="1">
                <a:solidFill>
                  <a:schemeClr val="accent1"/>
                </a:solidFill>
                <a:cs typeface="Arial" charset="0"/>
              </a:rPr>
              <a:t>2024</a:t>
            </a:r>
          </a:p>
        </p:txBody>
      </p:sp>
      <p:sp>
        <p:nvSpPr>
          <p:cNvPr id="113" name="Abgerundetes Rechteck 73"/>
          <p:cNvSpPr/>
          <p:nvPr/>
        </p:nvSpPr>
        <p:spPr bwMode="gray">
          <a:xfrm>
            <a:off x="1418291" y="4311178"/>
            <a:ext cx="477131" cy="273329"/>
          </a:xfrm>
          <a:prstGeom prst="roundRect">
            <a:avLst>
              <a:gd name="adj" fmla="val 6505"/>
            </a:avLst>
          </a:prstGeom>
          <a:noFill/>
          <a:ln w="12700">
            <a:noFill/>
            <a:miter lim="800000"/>
            <a:headEnd/>
            <a:tailEnd/>
          </a:ln>
          <a:effectLst/>
          <a:scene3d>
            <a:camera prst="orthographicFront"/>
            <a:lightRig rig="balanced" dir="t"/>
          </a:scene3d>
          <a:sp3d/>
        </p:spPr>
        <p:txBody>
          <a:bodyPr wrap="none" lIns="0" tIns="0" rIns="0" bIns="0" anchor="ctr" anchorCtr="0">
            <a:spAutoFit/>
          </a:bodyPr>
          <a:lstStyle/>
          <a:p>
            <a:pPr marL="167204" indent="-167204" algn="ctr" defTabSz="915006">
              <a:lnSpc>
                <a:spcPct val="95000"/>
              </a:lnSpc>
              <a:spcAft>
                <a:spcPts val="351"/>
              </a:spcAft>
              <a:buClr>
                <a:srgbClr val="808080"/>
              </a:buClr>
              <a:defRPr/>
            </a:pPr>
            <a:r>
              <a:rPr lang="en-US" b="1" noProof="1">
                <a:solidFill>
                  <a:schemeClr val="accent1"/>
                </a:solidFill>
                <a:cs typeface="Arial" charset="0"/>
              </a:rPr>
              <a:t>2020</a:t>
            </a:r>
          </a:p>
        </p:txBody>
      </p:sp>
      <p:sp>
        <p:nvSpPr>
          <p:cNvPr id="117" name="Abgerundetes Rechteck 74"/>
          <p:cNvSpPr/>
          <p:nvPr/>
        </p:nvSpPr>
        <p:spPr bwMode="gray">
          <a:xfrm>
            <a:off x="3629878" y="4311178"/>
            <a:ext cx="477131" cy="273329"/>
          </a:xfrm>
          <a:prstGeom prst="roundRect">
            <a:avLst>
              <a:gd name="adj" fmla="val 6505"/>
            </a:avLst>
          </a:prstGeom>
          <a:noFill/>
          <a:ln w="12700">
            <a:noFill/>
            <a:miter lim="800000"/>
            <a:headEnd/>
            <a:tailEnd/>
          </a:ln>
          <a:effectLst/>
          <a:scene3d>
            <a:camera prst="orthographicFront"/>
            <a:lightRig rig="balanced" dir="t"/>
          </a:scene3d>
          <a:sp3d/>
        </p:spPr>
        <p:txBody>
          <a:bodyPr wrap="none" lIns="0" tIns="0" rIns="0" bIns="0" anchor="ctr" anchorCtr="0">
            <a:spAutoFit/>
          </a:bodyPr>
          <a:lstStyle/>
          <a:p>
            <a:pPr marL="167204" indent="-167204" algn="ctr" defTabSz="915006">
              <a:lnSpc>
                <a:spcPct val="95000"/>
              </a:lnSpc>
              <a:spcAft>
                <a:spcPts val="351"/>
              </a:spcAft>
              <a:buClr>
                <a:srgbClr val="808080"/>
              </a:buClr>
              <a:defRPr/>
            </a:pPr>
            <a:r>
              <a:rPr lang="en-US" b="1" noProof="1">
                <a:solidFill>
                  <a:schemeClr val="accent1"/>
                </a:solidFill>
                <a:cs typeface="Arial" charset="0"/>
              </a:rPr>
              <a:t>2021</a:t>
            </a:r>
          </a:p>
        </p:txBody>
      </p:sp>
      <p:cxnSp>
        <p:nvCxnSpPr>
          <p:cNvPr id="142" name="Straight Connector 141"/>
          <p:cNvCxnSpPr/>
          <p:nvPr/>
        </p:nvCxnSpPr>
        <p:spPr>
          <a:xfrm>
            <a:off x="424888" y="4600618"/>
            <a:ext cx="1130855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/>
          <p:nvPr/>
        </p:nvCxnSpPr>
        <p:spPr>
          <a:xfrm>
            <a:off x="424888" y="5580084"/>
            <a:ext cx="1130855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extfeld 18"/>
          <p:cNvSpPr txBox="1"/>
          <p:nvPr/>
        </p:nvSpPr>
        <p:spPr bwMode="gray">
          <a:xfrm>
            <a:off x="2802140" y="5580084"/>
            <a:ext cx="2132013" cy="405993"/>
          </a:xfrm>
          <a:prstGeom prst="round2SameRect">
            <a:avLst>
              <a:gd name="adj1" fmla="val 0"/>
              <a:gd name="adj2" fmla="val 17010"/>
            </a:avLst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</p:spPr>
        <p:txBody>
          <a:bodyPr wrap="none" tIns="72000" bIns="0" rtlCol="0">
            <a:noAutofit/>
          </a:bodyPr>
          <a:lstStyle/>
          <a:p>
            <a:pPr algn="ctr" defTabSz="915006"/>
            <a:r>
              <a:rPr lang="en-US" sz="1600" b="1" noProof="1">
                <a:solidFill>
                  <a:schemeClr val="bg1"/>
                </a:solidFill>
                <a:cs typeface="Arial" panose="020B0604020202020204" pitchFamily="34" charset="0"/>
              </a:rPr>
              <a:t>TOCK</a:t>
            </a:r>
          </a:p>
        </p:txBody>
      </p:sp>
      <p:sp>
        <p:nvSpPr>
          <p:cNvPr id="171" name="Textfeld 20"/>
          <p:cNvSpPr txBox="1"/>
          <p:nvPr/>
        </p:nvSpPr>
        <p:spPr bwMode="gray">
          <a:xfrm>
            <a:off x="5013100" y="5580084"/>
            <a:ext cx="2132013" cy="405993"/>
          </a:xfrm>
          <a:prstGeom prst="round2SameRect">
            <a:avLst>
              <a:gd name="adj1" fmla="val 0"/>
              <a:gd name="adj2" fmla="val 17596"/>
            </a:avLst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</p:spPr>
        <p:txBody>
          <a:bodyPr wrap="none" tIns="72000" bIns="0" rtlCol="0">
            <a:noAutofit/>
          </a:bodyPr>
          <a:lstStyle/>
          <a:p>
            <a:pPr algn="ctr" defTabSz="915006"/>
            <a:r>
              <a:rPr lang="en-US" sz="1600" b="1" noProof="1">
                <a:solidFill>
                  <a:schemeClr val="bg1"/>
                </a:solidFill>
                <a:cs typeface="Arial" panose="020B0604020202020204" pitchFamily="34" charset="0"/>
              </a:rPr>
              <a:t>TICK</a:t>
            </a:r>
          </a:p>
        </p:txBody>
      </p:sp>
      <p:sp>
        <p:nvSpPr>
          <p:cNvPr id="172" name="Textfeld 18"/>
          <p:cNvSpPr txBox="1"/>
          <p:nvPr/>
        </p:nvSpPr>
        <p:spPr bwMode="gray">
          <a:xfrm>
            <a:off x="591180" y="5580084"/>
            <a:ext cx="2132013" cy="405993"/>
          </a:xfrm>
          <a:prstGeom prst="round2SameRect">
            <a:avLst>
              <a:gd name="adj1" fmla="val 0"/>
              <a:gd name="adj2" fmla="val 17010"/>
            </a:avLst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</p:spPr>
        <p:txBody>
          <a:bodyPr wrap="none" tIns="72000" bIns="0" rtlCol="0">
            <a:noAutofit/>
          </a:bodyPr>
          <a:lstStyle/>
          <a:p>
            <a:pPr algn="ctr" defTabSz="915006"/>
            <a:r>
              <a:rPr lang="en-US" sz="1600" b="1" noProof="1">
                <a:solidFill>
                  <a:schemeClr val="bg1"/>
                </a:solidFill>
                <a:cs typeface="Arial" panose="020B0604020202020204" pitchFamily="34" charset="0"/>
              </a:rPr>
              <a:t>TICK</a:t>
            </a:r>
          </a:p>
        </p:txBody>
      </p:sp>
      <p:sp>
        <p:nvSpPr>
          <p:cNvPr id="181" name="Freeform 10"/>
          <p:cNvSpPr>
            <a:spLocks noEditPoints="1"/>
          </p:cNvSpPr>
          <p:nvPr/>
        </p:nvSpPr>
        <p:spPr bwMode="auto">
          <a:xfrm>
            <a:off x="1417631" y="4853773"/>
            <a:ext cx="477792" cy="48200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69 w 96"/>
              <a:gd name="T11" fmla="*/ 35 h 96"/>
              <a:gd name="T12" fmla="*/ 39 w 96"/>
              <a:gd name="T13" fmla="*/ 63 h 96"/>
              <a:gd name="T14" fmla="*/ 38 w 96"/>
              <a:gd name="T15" fmla="*/ 64 h 96"/>
              <a:gd name="T16" fmla="*/ 37 w 96"/>
              <a:gd name="T17" fmla="*/ 63 h 96"/>
              <a:gd name="T18" fmla="*/ 27 w 96"/>
              <a:gd name="T19" fmla="*/ 53 h 96"/>
              <a:gd name="T20" fmla="*/ 27 w 96"/>
              <a:gd name="T21" fmla="*/ 51 h 96"/>
              <a:gd name="T22" fmla="*/ 29 w 96"/>
              <a:gd name="T23" fmla="*/ 51 h 96"/>
              <a:gd name="T24" fmla="*/ 38 w 96"/>
              <a:gd name="T25" fmla="*/ 59 h 96"/>
              <a:gd name="T26" fmla="*/ 67 w 96"/>
              <a:gd name="T27" fmla="*/ 33 h 96"/>
              <a:gd name="T28" fmla="*/ 69 w 96"/>
              <a:gd name="T29" fmla="*/ 33 h 96"/>
              <a:gd name="T30" fmla="*/ 69 w 96"/>
              <a:gd name="T31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4" y="96"/>
                  <a:pt x="96" y="74"/>
                  <a:pt x="96" y="48"/>
                </a:cubicBezTo>
                <a:cubicBezTo>
                  <a:pt x="96" y="22"/>
                  <a:pt x="74" y="0"/>
                  <a:pt x="48" y="0"/>
                </a:cubicBezTo>
                <a:close/>
                <a:moveTo>
                  <a:pt x="69" y="35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4"/>
                  <a:pt x="38" y="64"/>
                  <a:pt x="38" y="64"/>
                </a:cubicBezTo>
                <a:cubicBezTo>
                  <a:pt x="37" y="64"/>
                  <a:pt x="37" y="64"/>
                  <a:pt x="37" y="63"/>
                </a:cubicBezTo>
                <a:cubicBezTo>
                  <a:pt x="27" y="53"/>
                  <a:pt x="27" y="53"/>
                  <a:pt x="27" y="53"/>
                </a:cubicBezTo>
                <a:cubicBezTo>
                  <a:pt x="26" y="53"/>
                  <a:pt x="26" y="51"/>
                  <a:pt x="27" y="51"/>
                </a:cubicBezTo>
                <a:cubicBezTo>
                  <a:pt x="27" y="50"/>
                  <a:pt x="29" y="50"/>
                  <a:pt x="29" y="51"/>
                </a:cubicBezTo>
                <a:cubicBezTo>
                  <a:pt x="38" y="59"/>
                  <a:pt x="38" y="59"/>
                  <a:pt x="38" y="59"/>
                </a:cubicBezTo>
                <a:cubicBezTo>
                  <a:pt x="67" y="33"/>
                  <a:pt x="67" y="33"/>
                  <a:pt x="67" y="33"/>
                </a:cubicBezTo>
                <a:cubicBezTo>
                  <a:pt x="67" y="32"/>
                  <a:pt x="69" y="32"/>
                  <a:pt x="69" y="33"/>
                </a:cubicBezTo>
                <a:cubicBezTo>
                  <a:pt x="70" y="33"/>
                  <a:pt x="70" y="35"/>
                  <a:pt x="69" y="3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82" name="Freeform 10"/>
          <p:cNvSpPr>
            <a:spLocks noEditPoints="1"/>
          </p:cNvSpPr>
          <p:nvPr/>
        </p:nvSpPr>
        <p:spPr bwMode="auto">
          <a:xfrm>
            <a:off x="3628755" y="4853773"/>
            <a:ext cx="477792" cy="48200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69 w 96"/>
              <a:gd name="T11" fmla="*/ 35 h 96"/>
              <a:gd name="T12" fmla="*/ 39 w 96"/>
              <a:gd name="T13" fmla="*/ 63 h 96"/>
              <a:gd name="T14" fmla="*/ 38 w 96"/>
              <a:gd name="T15" fmla="*/ 64 h 96"/>
              <a:gd name="T16" fmla="*/ 37 w 96"/>
              <a:gd name="T17" fmla="*/ 63 h 96"/>
              <a:gd name="T18" fmla="*/ 27 w 96"/>
              <a:gd name="T19" fmla="*/ 53 h 96"/>
              <a:gd name="T20" fmla="*/ 27 w 96"/>
              <a:gd name="T21" fmla="*/ 51 h 96"/>
              <a:gd name="T22" fmla="*/ 29 w 96"/>
              <a:gd name="T23" fmla="*/ 51 h 96"/>
              <a:gd name="T24" fmla="*/ 38 w 96"/>
              <a:gd name="T25" fmla="*/ 59 h 96"/>
              <a:gd name="T26" fmla="*/ 67 w 96"/>
              <a:gd name="T27" fmla="*/ 33 h 96"/>
              <a:gd name="T28" fmla="*/ 69 w 96"/>
              <a:gd name="T29" fmla="*/ 33 h 96"/>
              <a:gd name="T30" fmla="*/ 69 w 96"/>
              <a:gd name="T31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4" y="96"/>
                  <a:pt x="96" y="74"/>
                  <a:pt x="96" y="48"/>
                </a:cubicBezTo>
                <a:cubicBezTo>
                  <a:pt x="96" y="22"/>
                  <a:pt x="74" y="0"/>
                  <a:pt x="48" y="0"/>
                </a:cubicBezTo>
                <a:close/>
                <a:moveTo>
                  <a:pt x="69" y="35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4"/>
                  <a:pt x="38" y="64"/>
                  <a:pt x="38" y="64"/>
                </a:cubicBezTo>
                <a:cubicBezTo>
                  <a:pt x="37" y="64"/>
                  <a:pt x="37" y="64"/>
                  <a:pt x="37" y="63"/>
                </a:cubicBezTo>
                <a:cubicBezTo>
                  <a:pt x="27" y="53"/>
                  <a:pt x="27" y="53"/>
                  <a:pt x="27" y="53"/>
                </a:cubicBezTo>
                <a:cubicBezTo>
                  <a:pt x="26" y="53"/>
                  <a:pt x="26" y="51"/>
                  <a:pt x="27" y="51"/>
                </a:cubicBezTo>
                <a:cubicBezTo>
                  <a:pt x="27" y="50"/>
                  <a:pt x="29" y="50"/>
                  <a:pt x="29" y="51"/>
                </a:cubicBezTo>
                <a:cubicBezTo>
                  <a:pt x="38" y="59"/>
                  <a:pt x="38" y="59"/>
                  <a:pt x="38" y="59"/>
                </a:cubicBezTo>
                <a:cubicBezTo>
                  <a:pt x="67" y="33"/>
                  <a:pt x="67" y="33"/>
                  <a:pt x="67" y="33"/>
                </a:cubicBezTo>
                <a:cubicBezTo>
                  <a:pt x="67" y="32"/>
                  <a:pt x="69" y="32"/>
                  <a:pt x="69" y="33"/>
                </a:cubicBezTo>
                <a:cubicBezTo>
                  <a:pt x="70" y="33"/>
                  <a:pt x="70" y="35"/>
                  <a:pt x="69" y="3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79383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WO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76" name="Rechteck 6"/>
          <p:cNvSpPr/>
          <p:nvPr/>
        </p:nvSpPr>
        <p:spPr bwMode="gray">
          <a:xfrm rot="16200000">
            <a:off x="450556" y="1885549"/>
            <a:ext cx="1548882" cy="1456830"/>
          </a:xfrm>
          <a:prstGeom prst="round2SameRect">
            <a:avLst/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0" name="Freihandform 18"/>
          <p:cNvSpPr txBox="1">
            <a:spLocks/>
          </p:cNvSpPr>
          <p:nvPr/>
        </p:nvSpPr>
        <p:spPr bwMode="gray">
          <a:xfrm>
            <a:off x="2171699" y="1948397"/>
            <a:ext cx="3545091" cy="133113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lvl="2" indent="-216000" defTabSz="914447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16000" lvl="2" indent="-216000" defTabSz="914447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replacing the placeholder text you need to click on the placeholder text and insert your own text.</a:t>
            </a:r>
          </a:p>
        </p:txBody>
      </p:sp>
      <p:cxnSp>
        <p:nvCxnSpPr>
          <p:cNvPr id="62" name="Gerader Verbinder 6"/>
          <p:cNvCxnSpPr/>
          <p:nvPr/>
        </p:nvCxnSpPr>
        <p:spPr bwMode="gray">
          <a:xfrm>
            <a:off x="1953412" y="1659224"/>
            <a:ext cx="0" cy="1909481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/>
          <p:cNvGrpSpPr/>
          <p:nvPr/>
        </p:nvGrpSpPr>
        <p:grpSpPr>
          <a:xfrm>
            <a:off x="599219" y="1954788"/>
            <a:ext cx="1252054" cy="1302963"/>
            <a:chOff x="830425" y="1815757"/>
            <a:chExt cx="1252054" cy="1302963"/>
          </a:xfrm>
        </p:grpSpPr>
        <p:sp>
          <p:nvSpPr>
            <p:cNvPr id="61" name="Rechteck 8"/>
            <p:cNvSpPr/>
            <p:nvPr/>
          </p:nvSpPr>
          <p:spPr bwMode="gray">
            <a:xfrm>
              <a:off x="830425" y="1815757"/>
              <a:ext cx="1252054" cy="103105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>
                <a:spcAft>
                  <a:spcPts val="1000"/>
                </a:spcAft>
              </a:pPr>
              <a:r>
                <a:rPr lang="en-US" sz="6700" b="1" dirty="0">
                  <a:solidFill>
                    <a:schemeClr val="bg1"/>
                  </a:solidFill>
                </a:rPr>
                <a:t>S</a:t>
              </a:r>
            </a:p>
          </p:txBody>
        </p:sp>
        <p:sp>
          <p:nvSpPr>
            <p:cNvPr id="77" name="Rechteck 8"/>
            <p:cNvSpPr/>
            <p:nvPr/>
          </p:nvSpPr>
          <p:spPr bwMode="gray">
            <a:xfrm>
              <a:off x="830425" y="2872499"/>
              <a:ext cx="1252054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1000"/>
                </a:spcAft>
              </a:pPr>
              <a:r>
                <a:rPr lang="en-US" sz="1600" b="1" dirty="0">
                  <a:solidFill>
                    <a:schemeClr val="bg1"/>
                  </a:solidFill>
                </a:rPr>
                <a:t>Strengths</a:t>
              </a:r>
            </a:p>
          </p:txBody>
        </p:sp>
      </p:grpSp>
      <p:sp>
        <p:nvSpPr>
          <p:cNvPr id="81" name="Rechteck 6"/>
          <p:cNvSpPr/>
          <p:nvPr/>
        </p:nvSpPr>
        <p:spPr bwMode="gray">
          <a:xfrm rot="16200000">
            <a:off x="6427596" y="1885549"/>
            <a:ext cx="1548882" cy="1456830"/>
          </a:xfrm>
          <a:prstGeom prst="round2Same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16200000" scaled="1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2" name="Freihandform 18"/>
          <p:cNvSpPr txBox="1">
            <a:spLocks/>
          </p:cNvSpPr>
          <p:nvPr/>
        </p:nvSpPr>
        <p:spPr bwMode="gray">
          <a:xfrm>
            <a:off x="8148739" y="1948397"/>
            <a:ext cx="3545091" cy="133113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lvl="2" indent="-216000" defTabSz="914447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16000" lvl="2" indent="-216000" defTabSz="914447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replacing the placeholder text you need to click on the placeholder text and insert your own text.</a:t>
            </a:r>
          </a:p>
        </p:txBody>
      </p:sp>
      <p:cxnSp>
        <p:nvCxnSpPr>
          <p:cNvPr id="83" name="Gerader Verbinder 6"/>
          <p:cNvCxnSpPr/>
          <p:nvPr/>
        </p:nvCxnSpPr>
        <p:spPr bwMode="gray">
          <a:xfrm>
            <a:off x="7930452" y="1659224"/>
            <a:ext cx="0" cy="1909481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Group 83"/>
          <p:cNvGrpSpPr/>
          <p:nvPr/>
        </p:nvGrpSpPr>
        <p:grpSpPr>
          <a:xfrm>
            <a:off x="6576259" y="1954788"/>
            <a:ext cx="1252054" cy="1302963"/>
            <a:chOff x="830425" y="1815757"/>
            <a:chExt cx="1252054" cy="1302963"/>
          </a:xfrm>
        </p:grpSpPr>
        <p:sp>
          <p:nvSpPr>
            <p:cNvPr id="85" name="Rechteck 8"/>
            <p:cNvSpPr/>
            <p:nvPr/>
          </p:nvSpPr>
          <p:spPr bwMode="gray">
            <a:xfrm>
              <a:off x="830425" y="1815757"/>
              <a:ext cx="1252054" cy="103105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>
                <a:spcAft>
                  <a:spcPts val="1000"/>
                </a:spcAft>
              </a:pPr>
              <a:r>
                <a:rPr lang="en-US" sz="6700" b="1" dirty="0">
                  <a:solidFill>
                    <a:schemeClr val="accent1"/>
                  </a:solidFill>
                </a:rPr>
                <a:t>W</a:t>
              </a:r>
            </a:p>
          </p:txBody>
        </p:sp>
        <p:sp>
          <p:nvSpPr>
            <p:cNvPr id="86" name="Rechteck 8"/>
            <p:cNvSpPr/>
            <p:nvPr/>
          </p:nvSpPr>
          <p:spPr bwMode="gray">
            <a:xfrm>
              <a:off x="830425" y="2872499"/>
              <a:ext cx="1252054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1000"/>
                </a:spcAft>
              </a:pPr>
              <a:r>
                <a:rPr lang="en-US" sz="1600" b="1" dirty="0">
                  <a:solidFill>
                    <a:schemeClr val="accent1"/>
                  </a:solidFill>
                </a:rPr>
                <a:t>Weaknesses</a:t>
              </a:r>
            </a:p>
          </p:txBody>
        </p:sp>
      </p:grpSp>
      <p:sp>
        <p:nvSpPr>
          <p:cNvPr id="88" name="Rechteck 6"/>
          <p:cNvSpPr/>
          <p:nvPr/>
        </p:nvSpPr>
        <p:spPr bwMode="gray">
          <a:xfrm rot="16200000">
            <a:off x="450556" y="4374550"/>
            <a:ext cx="1548882" cy="1456830"/>
          </a:xfrm>
          <a:prstGeom prst="round2Same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16200000" scaled="1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9" name="Freihandform 18"/>
          <p:cNvSpPr txBox="1">
            <a:spLocks/>
          </p:cNvSpPr>
          <p:nvPr/>
        </p:nvSpPr>
        <p:spPr bwMode="gray">
          <a:xfrm>
            <a:off x="2171699" y="4437398"/>
            <a:ext cx="3545091" cy="133113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lvl="2" indent="-216000" defTabSz="914447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16000" lvl="2" indent="-216000" defTabSz="914447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For replacing the placeholder text you need to click on the placeholder text and insert your own text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0" name="Gerader Verbinder 6"/>
          <p:cNvCxnSpPr/>
          <p:nvPr/>
        </p:nvCxnSpPr>
        <p:spPr bwMode="gray">
          <a:xfrm>
            <a:off x="1953412" y="4148225"/>
            <a:ext cx="0" cy="1909481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/>
          <p:cNvGrpSpPr/>
          <p:nvPr/>
        </p:nvGrpSpPr>
        <p:grpSpPr>
          <a:xfrm>
            <a:off x="599219" y="4443789"/>
            <a:ext cx="1252054" cy="1302963"/>
            <a:chOff x="830425" y="1815757"/>
            <a:chExt cx="1252054" cy="1302963"/>
          </a:xfrm>
        </p:grpSpPr>
        <p:sp>
          <p:nvSpPr>
            <p:cNvPr id="92" name="Rechteck 8"/>
            <p:cNvSpPr/>
            <p:nvPr/>
          </p:nvSpPr>
          <p:spPr bwMode="gray">
            <a:xfrm>
              <a:off x="830425" y="1815757"/>
              <a:ext cx="1252054" cy="103105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>
                <a:spcAft>
                  <a:spcPts val="1000"/>
                </a:spcAft>
              </a:pPr>
              <a:r>
                <a:rPr lang="en-US" sz="6700" b="1" dirty="0">
                  <a:solidFill>
                    <a:schemeClr val="accent1"/>
                  </a:solidFill>
                </a:rPr>
                <a:t>O</a:t>
              </a:r>
            </a:p>
          </p:txBody>
        </p:sp>
        <p:sp>
          <p:nvSpPr>
            <p:cNvPr id="93" name="Rechteck 8"/>
            <p:cNvSpPr/>
            <p:nvPr/>
          </p:nvSpPr>
          <p:spPr bwMode="gray">
            <a:xfrm>
              <a:off x="830425" y="2872499"/>
              <a:ext cx="1252054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1000"/>
                </a:spcAft>
              </a:pPr>
              <a:r>
                <a:rPr lang="en-US" sz="1600" b="1" dirty="0">
                  <a:solidFill>
                    <a:schemeClr val="accent1"/>
                  </a:solidFill>
                </a:rPr>
                <a:t>Opportunities</a:t>
              </a:r>
            </a:p>
          </p:txBody>
        </p:sp>
      </p:grpSp>
      <p:sp>
        <p:nvSpPr>
          <p:cNvPr id="95" name="Rechteck 6"/>
          <p:cNvSpPr/>
          <p:nvPr/>
        </p:nvSpPr>
        <p:spPr bwMode="gray">
          <a:xfrm rot="16200000">
            <a:off x="6427596" y="4374550"/>
            <a:ext cx="1548882" cy="1456830"/>
          </a:xfrm>
          <a:prstGeom prst="round2SameRect">
            <a:avLst/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6" name="Freihandform 18"/>
          <p:cNvSpPr txBox="1">
            <a:spLocks/>
          </p:cNvSpPr>
          <p:nvPr/>
        </p:nvSpPr>
        <p:spPr bwMode="gray">
          <a:xfrm>
            <a:off x="8148739" y="4437398"/>
            <a:ext cx="3545091" cy="133113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0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lvl="2" indent="-216000" defTabSz="914447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16000" lvl="2" indent="-216000" defTabSz="914447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replacing the placeholder text you need to click on the placeholder text and insert your own text.</a:t>
            </a:r>
          </a:p>
        </p:txBody>
      </p:sp>
      <p:cxnSp>
        <p:nvCxnSpPr>
          <p:cNvPr id="97" name="Gerader Verbinder 6"/>
          <p:cNvCxnSpPr/>
          <p:nvPr/>
        </p:nvCxnSpPr>
        <p:spPr bwMode="gray">
          <a:xfrm>
            <a:off x="7930452" y="4148225"/>
            <a:ext cx="0" cy="1909481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oup 97"/>
          <p:cNvGrpSpPr/>
          <p:nvPr/>
        </p:nvGrpSpPr>
        <p:grpSpPr>
          <a:xfrm>
            <a:off x="6576259" y="4443789"/>
            <a:ext cx="1252054" cy="1318352"/>
            <a:chOff x="830425" y="1815757"/>
            <a:chExt cx="1252054" cy="1318352"/>
          </a:xfrm>
        </p:grpSpPr>
        <p:sp>
          <p:nvSpPr>
            <p:cNvPr id="99" name="Rechteck 8"/>
            <p:cNvSpPr/>
            <p:nvPr/>
          </p:nvSpPr>
          <p:spPr bwMode="gray">
            <a:xfrm>
              <a:off x="830425" y="1815757"/>
              <a:ext cx="1252054" cy="103105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>
                <a:spcAft>
                  <a:spcPts val="1000"/>
                </a:spcAft>
              </a:pPr>
              <a:r>
                <a:rPr lang="en-US" sz="6700" b="1" dirty="0">
                  <a:solidFill>
                    <a:schemeClr val="bg1"/>
                  </a:solidFill>
                </a:rPr>
                <a:t>T</a:t>
              </a:r>
            </a:p>
          </p:txBody>
        </p:sp>
        <p:sp>
          <p:nvSpPr>
            <p:cNvPr id="100" name="Rechteck 8"/>
            <p:cNvSpPr/>
            <p:nvPr/>
          </p:nvSpPr>
          <p:spPr bwMode="gray">
            <a:xfrm>
              <a:off x="830425" y="2857110"/>
              <a:ext cx="1252054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>
                <a:spcAft>
                  <a:spcPts val="10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Threa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48279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ositive &amp; Negative Factor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36" name="Textplatzhalter 12"/>
          <p:cNvSpPr txBox="1">
            <a:spLocks/>
          </p:cNvSpPr>
          <p:nvPr/>
        </p:nvSpPr>
        <p:spPr bwMode="gray">
          <a:xfrm>
            <a:off x="1247133" y="1869322"/>
            <a:ext cx="4712071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lIns="0" tIns="0" rIns="0" bIns="0" anchor="ctr"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47">
              <a:buNone/>
            </a:pPr>
            <a:r>
              <a:rPr lang="en-US" sz="1800" b="1" dirty="0">
                <a:solidFill>
                  <a:schemeClr val="accent1"/>
                </a:solidFill>
              </a:rPr>
              <a:t>INTERNAL &amp; POSITIVE FACTORS</a:t>
            </a:r>
          </a:p>
          <a:p>
            <a:pPr marL="252000" indent="-252000" defTabSz="914447">
              <a:lnSpc>
                <a:spcPct val="100000"/>
              </a:lnSpc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52000" lvl="2" indent="-252000" defTabSz="914447">
              <a:lnSpc>
                <a:spcPct val="100000"/>
              </a:lnSpc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how your own text will look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hen you replace the placeholder with your own text.</a:t>
            </a:r>
          </a:p>
          <a:p>
            <a:pPr marL="252000" lvl="2" indent="-252000" defTabSz="914447">
              <a:lnSpc>
                <a:spcPct val="100000"/>
              </a:lnSpc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</p:txBody>
      </p:sp>
      <p:sp>
        <p:nvSpPr>
          <p:cNvPr id="44" name="Rechteck 6"/>
          <p:cNvSpPr/>
          <p:nvPr/>
        </p:nvSpPr>
        <p:spPr bwMode="gray">
          <a:xfrm>
            <a:off x="1011531" y="1451916"/>
            <a:ext cx="5183192" cy="280282"/>
          </a:xfrm>
          <a:prstGeom prst="round2SameRect">
            <a:avLst/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POSITIVE</a:t>
            </a:r>
          </a:p>
        </p:txBody>
      </p:sp>
      <p:sp>
        <p:nvSpPr>
          <p:cNvPr id="45" name="Rechteck 7"/>
          <p:cNvSpPr/>
          <p:nvPr/>
        </p:nvSpPr>
        <p:spPr bwMode="gray">
          <a:xfrm>
            <a:off x="6382082" y="1451916"/>
            <a:ext cx="5197791" cy="280282"/>
          </a:xfrm>
          <a:prstGeom prst="round2Same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16200000" scaled="1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46" name="Textplatzhalter 12"/>
          <p:cNvSpPr txBox="1">
            <a:spLocks/>
          </p:cNvSpPr>
          <p:nvPr/>
        </p:nvSpPr>
        <p:spPr bwMode="gray">
          <a:xfrm>
            <a:off x="1247133" y="4142503"/>
            <a:ext cx="4712071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EXTERNAL &amp; POSITIVE FACTORS</a:t>
            </a:r>
          </a:p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52000" lvl="2" indent="-25200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how your own text will look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hen you replace the placeholder with your own text.</a:t>
            </a:r>
          </a:p>
          <a:p>
            <a:pPr marL="252000" lvl="2" indent="-25200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</p:txBody>
      </p:sp>
      <p:sp>
        <p:nvSpPr>
          <p:cNvPr id="47" name="Textplatzhalter 12"/>
          <p:cNvSpPr txBox="1">
            <a:spLocks/>
          </p:cNvSpPr>
          <p:nvPr/>
        </p:nvSpPr>
        <p:spPr bwMode="gray">
          <a:xfrm>
            <a:off x="6617685" y="1869322"/>
            <a:ext cx="4712071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INTERNAL &amp; NEGATIVE FACTORS</a:t>
            </a:r>
          </a:p>
          <a:p>
            <a:pPr lvl="0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52000" lvl="2" indent="-25200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how your own text will look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hen you replace the placeholder with your own text.</a:t>
            </a:r>
          </a:p>
          <a:p>
            <a:pPr marL="252000" lvl="2" indent="-25200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</p:txBody>
      </p:sp>
      <p:sp>
        <p:nvSpPr>
          <p:cNvPr id="48" name="Textplatzhalter 12"/>
          <p:cNvSpPr txBox="1">
            <a:spLocks/>
          </p:cNvSpPr>
          <p:nvPr/>
        </p:nvSpPr>
        <p:spPr bwMode="gray">
          <a:xfrm>
            <a:off x="6617685" y="4142503"/>
            <a:ext cx="4712071" cy="2090346"/>
          </a:xfrm>
          <a:prstGeom prst="rect">
            <a:avLst/>
          </a:prstGeom>
          <a:solidFill>
            <a:schemeClr val="bg1">
              <a:alpha val="28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EXTERNAL &amp; NEGATIVE FACTORS</a:t>
            </a:r>
          </a:p>
          <a:p>
            <a:pPr lvl="0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52000" lvl="2" indent="-25200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how your own text will look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hen you replace the placeholder with your own text.</a:t>
            </a:r>
          </a:p>
          <a:p>
            <a:pPr marL="252000" lvl="2" indent="-25200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</p:txBody>
      </p:sp>
      <p:sp>
        <p:nvSpPr>
          <p:cNvPr id="50" name="Rechteck 6"/>
          <p:cNvSpPr/>
          <p:nvPr/>
        </p:nvSpPr>
        <p:spPr bwMode="gray">
          <a:xfrm rot="16200000">
            <a:off x="-305332" y="2774551"/>
            <a:ext cx="2090738" cy="280282"/>
          </a:xfrm>
          <a:prstGeom prst="round2Same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16200000" scaled="1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INTERNAL</a:t>
            </a:r>
          </a:p>
        </p:txBody>
      </p:sp>
      <p:sp>
        <p:nvSpPr>
          <p:cNvPr id="51" name="Rechteck 6"/>
          <p:cNvSpPr/>
          <p:nvPr/>
        </p:nvSpPr>
        <p:spPr bwMode="gray">
          <a:xfrm rot="16200000">
            <a:off x="-305332" y="5047339"/>
            <a:ext cx="2090738" cy="280282"/>
          </a:xfrm>
          <a:prstGeom prst="round2SameRect">
            <a:avLst/>
          </a:prstGeom>
          <a:gradFill>
            <a:gsLst>
              <a:gs pos="0">
                <a:schemeClr val="accent1">
                  <a:lumMod val="75000"/>
                  <a:lumOff val="25000"/>
                </a:schemeClr>
              </a:gs>
              <a:gs pos="100000">
                <a:schemeClr val="accent3">
                  <a:lumMod val="90000"/>
                  <a:lumOff val="10000"/>
                </a:schemeClr>
              </a:gs>
            </a:gsLst>
            <a:lin ang="16200000" scaled="1"/>
          </a:gra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XTERNAL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880178" y="1732198"/>
            <a:ext cx="10801749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61000">
                  <a:schemeClr val="bg1">
                    <a:lumMod val="8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880179" y="1732198"/>
            <a:ext cx="0" cy="4617103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67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6288445" y="1800760"/>
            <a:ext cx="0" cy="447997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V="1">
            <a:off x="1101987" y="4051085"/>
            <a:ext cx="10372915" cy="1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53469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334963" y="4017336"/>
            <a:ext cx="3994499" cy="11456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 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replacing the placeholder text you need to click on the placeholder text  and insert your own text. 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34963" y="2306350"/>
            <a:ext cx="3994499" cy="11456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 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replacing the placeholder text you need to click on the placeholder text  and insert your own text. 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880878" y="4017336"/>
            <a:ext cx="3994499" cy="11456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 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replacing the placeholder text you need to click on the placeholder text  and insert your own text. 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880878" y="2306350"/>
            <a:ext cx="3994499" cy="11456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 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replacing the placeholder text you need to click on the placeholder text  and insert your own text. </a:t>
            </a:r>
          </a:p>
        </p:txBody>
      </p:sp>
      <p:cxnSp>
        <p:nvCxnSpPr>
          <p:cNvPr id="54" name="Straight Connector 53"/>
          <p:cNvCxnSpPr/>
          <p:nvPr/>
        </p:nvCxnSpPr>
        <p:spPr>
          <a:xfrm>
            <a:off x="6095206" y="5255178"/>
            <a:ext cx="0" cy="7361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igh-Level Project Overview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18" name="Gruppieren 25"/>
          <p:cNvGrpSpPr/>
          <p:nvPr/>
        </p:nvGrpSpPr>
        <p:grpSpPr bwMode="gray">
          <a:xfrm>
            <a:off x="4468650" y="2203304"/>
            <a:ext cx="3268800" cy="3268929"/>
            <a:chOff x="3209927" y="2038338"/>
            <a:chExt cx="3486151" cy="3485241"/>
          </a:xfrm>
        </p:grpSpPr>
        <p:sp>
          <p:nvSpPr>
            <p:cNvPr id="19" name="Ellipse 5"/>
            <p:cNvSpPr/>
            <p:nvPr/>
          </p:nvSpPr>
          <p:spPr bwMode="gray">
            <a:xfrm>
              <a:off x="3209927" y="2038338"/>
              <a:ext cx="3486151" cy="3485241"/>
            </a:xfrm>
            <a:custGeom>
              <a:avLst/>
              <a:gdLst/>
              <a:ahLst/>
              <a:cxnLst/>
              <a:rect l="l" t="t" r="r" b="b"/>
              <a:pathLst>
                <a:path w="3486150" h="3485241">
                  <a:moveTo>
                    <a:pt x="2427828" y="2750838"/>
                  </a:moveTo>
                  <a:lnTo>
                    <a:pt x="2735447" y="3174240"/>
                  </a:lnTo>
                  <a:cubicBezTo>
                    <a:pt x="2454234" y="3370602"/>
                    <a:pt x="2112042" y="3485241"/>
                    <a:pt x="1743075" y="3485241"/>
                  </a:cubicBezTo>
                  <a:cubicBezTo>
                    <a:pt x="1382619" y="3485241"/>
                    <a:pt x="1047718" y="3375830"/>
                    <a:pt x="769811" y="3188345"/>
                  </a:cubicBezTo>
                  <a:lnTo>
                    <a:pt x="1078470" y="2763511"/>
                  </a:lnTo>
                  <a:cubicBezTo>
                    <a:pt x="1269293" y="2888891"/>
                    <a:pt x="1497720" y="2961366"/>
                    <a:pt x="1743075" y="2961366"/>
                  </a:cubicBezTo>
                  <a:cubicBezTo>
                    <a:pt x="1996960" y="2961366"/>
                    <a:pt x="2232720" y="2883764"/>
                    <a:pt x="2427828" y="2750838"/>
                  </a:cubicBezTo>
                  <a:close/>
                  <a:moveTo>
                    <a:pt x="1761075" y="0"/>
                  </a:moveTo>
                  <a:cubicBezTo>
                    <a:pt x="2715463" y="8842"/>
                    <a:pt x="3486150" y="785502"/>
                    <a:pt x="3486150" y="1742166"/>
                  </a:cubicBezTo>
                  <a:cubicBezTo>
                    <a:pt x="3486150" y="2322952"/>
                    <a:pt x="3202102" y="2837395"/>
                    <a:pt x="2764280" y="3152678"/>
                  </a:cubicBezTo>
                  <a:lnTo>
                    <a:pt x="2456661" y="2729277"/>
                  </a:lnTo>
                  <a:cubicBezTo>
                    <a:pt x="2763290" y="2508784"/>
                    <a:pt x="2962275" y="2148713"/>
                    <a:pt x="2962275" y="1742166"/>
                  </a:cubicBezTo>
                  <a:cubicBezTo>
                    <a:pt x="2962275" y="1621569"/>
                    <a:pt x="2944766" y="1505062"/>
                    <a:pt x="2911604" y="1395215"/>
                  </a:cubicBezTo>
                  <a:lnTo>
                    <a:pt x="3406400" y="1234446"/>
                  </a:lnTo>
                  <a:lnTo>
                    <a:pt x="3395275" y="1200208"/>
                  </a:lnTo>
                  <a:lnTo>
                    <a:pt x="2900535" y="1360959"/>
                  </a:lnTo>
                  <a:cubicBezTo>
                    <a:pt x="2743044" y="879619"/>
                    <a:pt x="2293345" y="530960"/>
                    <a:pt x="1761075" y="523875"/>
                  </a:cubicBezTo>
                  <a:close/>
                  <a:moveTo>
                    <a:pt x="1725075" y="0"/>
                  </a:moveTo>
                  <a:lnTo>
                    <a:pt x="1725075" y="523875"/>
                  </a:lnTo>
                  <a:cubicBezTo>
                    <a:pt x="1192806" y="530960"/>
                    <a:pt x="743108" y="879618"/>
                    <a:pt x="585616" y="1360957"/>
                  </a:cubicBezTo>
                  <a:lnTo>
                    <a:pt x="90875" y="1200205"/>
                  </a:lnTo>
                  <a:lnTo>
                    <a:pt x="79751" y="1234443"/>
                  </a:lnTo>
                  <a:lnTo>
                    <a:pt x="574547" y="1395212"/>
                  </a:lnTo>
                  <a:cubicBezTo>
                    <a:pt x="541385" y="1505061"/>
                    <a:pt x="523875" y="1621569"/>
                    <a:pt x="523875" y="1742166"/>
                  </a:cubicBezTo>
                  <a:cubicBezTo>
                    <a:pt x="523875" y="2157237"/>
                    <a:pt x="731292" y="2523862"/>
                    <a:pt x="1048510" y="2743501"/>
                  </a:cubicBezTo>
                  <a:lnTo>
                    <a:pt x="740891" y="3166902"/>
                  </a:lnTo>
                  <a:cubicBezTo>
                    <a:pt x="292449" y="2852486"/>
                    <a:pt x="0" y="2331479"/>
                    <a:pt x="0" y="1742166"/>
                  </a:cubicBezTo>
                  <a:cubicBezTo>
                    <a:pt x="0" y="785502"/>
                    <a:pt x="770688" y="8842"/>
                    <a:pt x="1725075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 err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Ellipse 5"/>
            <p:cNvSpPr/>
            <p:nvPr/>
          </p:nvSpPr>
          <p:spPr bwMode="gray">
            <a:xfrm>
              <a:off x="3781427" y="2609383"/>
              <a:ext cx="2343150" cy="2343150"/>
            </a:xfrm>
            <a:custGeom>
              <a:avLst/>
              <a:gdLst/>
              <a:ahLst/>
              <a:cxnLst/>
              <a:rect l="l" t="t" r="r" b="b"/>
              <a:pathLst>
                <a:path w="2343150" h="2343150">
                  <a:moveTo>
                    <a:pt x="0" y="1171576"/>
                  </a:moveTo>
                  <a:lnTo>
                    <a:pt x="352113" y="1171576"/>
                  </a:lnTo>
                  <a:cubicBezTo>
                    <a:pt x="352113" y="1624152"/>
                    <a:pt x="718998" y="1991037"/>
                    <a:pt x="1171575" y="1991037"/>
                  </a:cubicBezTo>
                  <a:cubicBezTo>
                    <a:pt x="1624152" y="1991037"/>
                    <a:pt x="1991037" y="1624152"/>
                    <a:pt x="1991037" y="1171576"/>
                  </a:cubicBezTo>
                  <a:lnTo>
                    <a:pt x="2343150" y="1171576"/>
                  </a:lnTo>
                  <a:cubicBezTo>
                    <a:pt x="2343150" y="1818618"/>
                    <a:pt x="1818618" y="2343150"/>
                    <a:pt x="1171575" y="2343150"/>
                  </a:cubicBezTo>
                  <a:cubicBezTo>
                    <a:pt x="524532" y="2343150"/>
                    <a:pt x="0" y="1818618"/>
                    <a:pt x="0" y="1171576"/>
                  </a:cubicBezTo>
                  <a:close/>
                  <a:moveTo>
                    <a:pt x="1171575" y="0"/>
                  </a:moveTo>
                  <a:cubicBezTo>
                    <a:pt x="1806562" y="0"/>
                    <a:pt x="2323561" y="505167"/>
                    <a:pt x="2341332" y="1135576"/>
                  </a:cubicBezTo>
                  <a:lnTo>
                    <a:pt x="1989219" y="1135576"/>
                  </a:lnTo>
                  <a:cubicBezTo>
                    <a:pt x="1971395" y="699678"/>
                    <a:pt x="1612075" y="352113"/>
                    <a:pt x="1171575" y="352113"/>
                  </a:cubicBezTo>
                  <a:cubicBezTo>
                    <a:pt x="731076" y="352113"/>
                    <a:pt x="371756" y="699678"/>
                    <a:pt x="353931" y="1135576"/>
                  </a:cubicBezTo>
                  <a:lnTo>
                    <a:pt x="1818" y="1135576"/>
                  </a:lnTo>
                  <a:cubicBezTo>
                    <a:pt x="19589" y="505167"/>
                    <a:pt x="536588" y="0"/>
                    <a:pt x="1171575" y="0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51000">
                  <a:schemeClr val="accent4"/>
                </a:gs>
                <a:gs pos="100000">
                  <a:schemeClr val="accent2"/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 err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Ellipse 28"/>
            <p:cNvSpPr/>
            <p:nvPr/>
          </p:nvSpPr>
          <p:spPr bwMode="gray">
            <a:xfrm>
              <a:off x="4186239" y="3014195"/>
              <a:ext cx="1533527" cy="1533526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cap="all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Project</a:t>
              </a:r>
            </a:p>
          </p:txBody>
        </p:sp>
        <p:sp>
          <p:nvSpPr>
            <p:cNvPr id="22" name="Textfeld 29"/>
            <p:cNvSpPr txBox="1"/>
            <p:nvPr/>
          </p:nvSpPr>
          <p:spPr bwMode="gray">
            <a:xfrm rot="16200000">
              <a:off x="3963001" y="2810708"/>
              <a:ext cx="1980000" cy="1980001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Circle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Category</a:t>
              </a:r>
            </a:p>
          </p:txBody>
        </p:sp>
        <p:sp>
          <p:nvSpPr>
            <p:cNvPr id="23" name="Textfeld 30"/>
            <p:cNvSpPr txBox="1"/>
            <p:nvPr/>
          </p:nvSpPr>
          <p:spPr bwMode="gray">
            <a:xfrm rot="14309091">
              <a:off x="3517457" y="2345413"/>
              <a:ext cx="2871090" cy="2871091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Circle">
                <a:avLst>
                  <a:gd name="adj" fmla="val 11067927"/>
                </a:avLst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Category</a:t>
              </a:r>
            </a:p>
          </p:txBody>
        </p:sp>
        <p:sp>
          <p:nvSpPr>
            <p:cNvPr id="24" name="Textfeld 31"/>
            <p:cNvSpPr txBox="1"/>
            <p:nvPr/>
          </p:nvSpPr>
          <p:spPr bwMode="gray">
            <a:xfrm rot="18400706">
              <a:off x="3517457" y="2345413"/>
              <a:ext cx="2871090" cy="2871091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Circle">
                <a:avLst>
                  <a:gd name="adj" fmla="val 11067927"/>
                </a:avLst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Category</a:t>
              </a:r>
            </a:p>
          </p:txBody>
        </p:sp>
        <p:sp>
          <p:nvSpPr>
            <p:cNvPr id="25" name="Textfeld 32"/>
            <p:cNvSpPr txBox="1"/>
            <p:nvPr/>
          </p:nvSpPr>
          <p:spPr bwMode="gray">
            <a:xfrm rot="17115616">
              <a:off x="3517457" y="2345413"/>
              <a:ext cx="2871090" cy="2871091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ArchDown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Category</a:t>
              </a:r>
            </a:p>
          </p:txBody>
        </p:sp>
        <p:sp>
          <p:nvSpPr>
            <p:cNvPr id="26" name="Textfeld 33"/>
            <p:cNvSpPr txBox="1"/>
            <p:nvPr/>
          </p:nvSpPr>
          <p:spPr bwMode="gray">
            <a:xfrm>
              <a:off x="3517457" y="2394786"/>
              <a:ext cx="2871091" cy="2871090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ArchDown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Category</a:t>
              </a:r>
            </a:p>
          </p:txBody>
        </p:sp>
        <p:sp>
          <p:nvSpPr>
            <p:cNvPr id="27" name="Textfeld 34"/>
            <p:cNvSpPr txBox="1"/>
            <p:nvPr/>
          </p:nvSpPr>
          <p:spPr bwMode="gray">
            <a:xfrm rot="4250875">
              <a:off x="3517456" y="2345413"/>
              <a:ext cx="2871090" cy="2871091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ArchDown">
                <a:avLst/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Category</a:t>
              </a:r>
            </a:p>
          </p:txBody>
        </p:sp>
        <p:sp>
          <p:nvSpPr>
            <p:cNvPr id="28" name="Textfeld 35"/>
            <p:cNvSpPr txBox="1"/>
            <p:nvPr/>
          </p:nvSpPr>
          <p:spPr bwMode="gray">
            <a:xfrm>
              <a:off x="3963000" y="2790958"/>
              <a:ext cx="1980001" cy="1980000"/>
            </a:xfrm>
            <a:prstGeom prst="rect">
              <a:avLst/>
            </a:prstGeom>
          </p:spPr>
          <p:txBody>
            <a:bodyPr vert="horz" wrap="none" lIns="0" tIns="0" rIns="0" bIns="0" rtlCol="0">
              <a:prstTxWarp prst="textArchDown">
                <a:avLst>
                  <a:gd name="adj" fmla="val 16301368"/>
                </a:avLst>
              </a:prstTxWarp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Category</a:t>
              </a: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334964" y="1525305"/>
            <a:ext cx="11483406" cy="46723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  <a:b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 For replacing the placeholder text you need to click on the placeholder text  and insert your own text. 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097957" y="5905759"/>
            <a:ext cx="3994499" cy="5455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108000" rIns="72000" bIns="36000" rtlCol="0">
            <a:spAutoFit/>
          </a:bodyPr>
          <a:lstStyle>
            <a:defPPr>
              <a:defRPr lang="de-DE"/>
            </a:defPPr>
            <a:lvl1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Replace this blurb with other details. </a:t>
            </a:r>
          </a:p>
          <a:p>
            <a:r>
              <a:rPr lang="en-US" dirty="0"/>
              <a:t>Replace this blurb with other details. 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736AD90B-DEB7-4EF4-9FC8-2BD5337A7CC7}"/>
              </a:ext>
            </a:extLst>
          </p:cNvPr>
          <p:cNvSpPr/>
          <p:nvPr/>
        </p:nvSpPr>
        <p:spPr>
          <a:xfrm flipH="1">
            <a:off x="5887641" y="5905759"/>
            <a:ext cx="415131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/>
          <p:cNvGrpSpPr/>
          <p:nvPr/>
        </p:nvGrpSpPr>
        <p:grpSpPr>
          <a:xfrm flipH="1">
            <a:off x="7724775" y="4017336"/>
            <a:ext cx="4150603" cy="45719"/>
            <a:chOff x="334962" y="2537629"/>
            <a:chExt cx="4150603" cy="45719"/>
          </a:xfrm>
        </p:grpSpPr>
        <p:sp>
          <p:nvSpPr>
            <p:cNvPr id="43" name="Rectangle 42"/>
            <p:cNvSpPr/>
            <p:nvPr/>
          </p:nvSpPr>
          <p:spPr>
            <a:xfrm>
              <a:off x="334963" y="2537629"/>
              <a:ext cx="415131" cy="4571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4" name="Straight Connector 43"/>
            <p:cNvCxnSpPr>
              <a:cxnSpLocks/>
            </p:cNvCxnSpPr>
            <p:nvPr/>
          </p:nvCxnSpPr>
          <p:spPr>
            <a:xfrm>
              <a:off x="334962" y="2537629"/>
              <a:ext cx="4150603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/>
          <p:cNvGrpSpPr/>
          <p:nvPr/>
        </p:nvGrpSpPr>
        <p:grpSpPr>
          <a:xfrm>
            <a:off x="334963" y="4017336"/>
            <a:ext cx="4148137" cy="45719"/>
            <a:chOff x="334963" y="2537629"/>
            <a:chExt cx="4148137" cy="45719"/>
          </a:xfrm>
        </p:grpSpPr>
        <p:sp>
          <p:nvSpPr>
            <p:cNvPr id="38" name="Rectangle 37"/>
            <p:cNvSpPr/>
            <p:nvPr/>
          </p:nvSpPr>
          <p:spPr>
            <a:xfrm>
              <a:off x="334963" y="2537629"/>
              <a:ext cx="415131" cy="4571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9" name="Straight Connector 38"/>
            <p:cNvCxnSpPr>
              <a:cxnSpLocks/>
            </p:cNvCxnSpPr>
            <p:nvPr/>
          </p:nvCxnSpPr>
          <p:spPr>
            <a:xfrm>
              <a:off x="334963" y="2537629"/>
              <a:ext cx="4148137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52865C46-26D7-43C8-9215-1B28A6A2CE96}"/>
              </a:ext>
            </a:extLst>
          </p:cNvPr>
          <p:cNvGrpSpPr/>
          <p:nvPr/>
        </p:nvGrpSpPr>
        <p:grpSpPr>
          <a:xfrm>
            <a:off x="334963" y="2306350"/>
            <a:ext cx="4477067" cy="476922"/>
            <a:chOff x="334963" y="2306350"/>
            <a:chExt cx="4477067" cy="476922"/>
          </a:xfrm>
        </p:grpSpPr>
        <p:sp>
          <p:nvSpPr>
            <p:cNvPr id="29" name="Rectangle 28"/>
            <p:cNvSpPr/>
            <p:nvPr/>
          </p:nvSpPr>
          <p:spPr>
            <a:xfrm>
              <a:off x="334963" y="2306350"/>
              <a:ext cx="415131" cy="4571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>
              <a:off x="334963" y="2306350"/>
              <a:ext cx="3993197" cy="0"/>
            </a:xfrm>
            <a:prstGeom prst="line">
              <a:avLst/>
            </a:prstGeom>
            <a:ln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xmlns="" id="{E2F6B515-BDCB-41EA-8255-943581BD8018}"/>
                </a:ext>
              </a:extLst>
            </p:cNvPr>
            <p:cNvCxnSpPr>
              <a:cxnSpLocks/>
            </p:cNvCxnSpPr>
            <p:nvPr/>
          </p:nvCxnSpPr>
          <p:spPr>
            <a:xfrm>
              <a:off x="4328160" y="2309746"/>
              <a:ext cx="483870" cy="473526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xmlns="" id="{0EC69741-D5FF-4193-9CC2-6B97999378A1}"/>
              </a:ext>
            </a:extLst>
          </p:cNvPr>
          <p:cNvGrpSpPr/>
          <p:nvPr/>
        </p:nvGrpSpPr>
        <p:grpSpPr>
          <a:xfrm flipH="1">
            <a:off x="7398310" y="2306350"/>
            <a:ext cx="4477067" cy="476922"/>
            <a:chOff x="334963" y="2306350"/>
            <a:chExt cx="4477067" cy="476922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xmlns="" id="{524B087B-A017-4798-AD6F-64099840CB76}"/>
                </a:ext>
              </a:extLst>
            </p:cNvPr>
            <p:cNvSpPr/>
            <p:nvPr/>
          </p:nvSpPr>
          <p:spPr>
            <a:xfrm>
              <a:off x="334963" y="2306350"/>
              <a:ext cx="415131" cy="4571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xmlns="" id="{26540842-EF95-49D9-84D4-63AD12688742}"/>
                </a:ext>
              </a:extLst>
            </p:cNvPr>
            <p:cNvCxnSpPr>
              <a:cxnSpLocks/>
            </p:cNvCxnSpPr>
            <p:nvPr/>
          </p:nvCxnSpPr>
          <p:spPr>
            <a:xfrm>
              <a:off x="334963" y="2306350"/>
              <a:ext cx="3993197" cy="0"/>
            </a:xfrm>
            <a:prstGeom prst="line">
              <a:avLst/>
            </a:prstGeom>
            <a:ln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xmlns="" id="{00E1D804-B63A-44EF-ADA7-B37BDCA980B2}"/>
                </a:ext>
              </a:extLst>
            </p:cNvPr>
            <p:cNvCxnSpPr>
              <a:cxnSpLocks/>
            </p:cNvCxnSpPr>
            <p:nvPr/>
          </p:nvCxnSpPr>
          <p:spPr>
            <a:xfrm>
              <a:off x="4328160" y="2309746"/>
              <a:ext cx="483870" cy="473526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57755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000"/>
                            </p:stCondLst>
                            <p:childTnLst>
                              <p:par>
                                <p:cTn id="5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35" grpId="0" animBg="1"/>
      <p:bldP spid="45" grpId="0" animBg="1"/>
      <p:bldP spid="49" grpId="0" animBg="1"/>
      <p:bldP spid="52" grpId="0" animBg="1"/>
      <p:bldP spid="4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oday vs. Tomorrow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oals, risks, rewards and aspiration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36550" y="2285770"/>
            <a:ext cx="5759450" cy="2788844"/>
          </a:xfrm>
          <a:prstGeom prst="rect">
            <a:avLst/>
          </a:prstGeom>
          <a:gradFill>
            <a:gsLst>
              <a:gs pos="16000">
                <a:schemeClr val="accent3"/>
              </a:gs>
              <a:gs pos="100000">
                <a:schemeClr val="accent4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096000" y="2285770"/>
            <a:ext cx="5759450" cy="27888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075" y="2639842"/>
            <a:ext cx="4724400" cy="344128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Toda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4075" y="3129497"/>
            <a:ext cx="4403545" cy="1467513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>
            <a:defPPr>
              <a:defRPr lang="de-DE"/>
            </a:defPPr>
            <a:lvl1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16000" indent="-21600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Replace this blurb with other details.</a:t>
            </a:r>
          </a:p>
          <a:p>
            <a:pPr marL="216000" indent="-21600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Change the title of this style and the overall purpose. Include any more text here.</a:t>
            </a:r>
          </a:p>
          <a:p>
            <a:pPr marL="216000" indent="-21600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Replace this blurb with other details.</a:t>
            </a:r>
          </a:p>
          <a:p>
            <a:pPr marL="216000" indent="-21600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131050" y="2639842"/>
            <a:ext cx="4724400" cy="344128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Tomorrow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131050" y="3129497"/>
            <a:ext cx="4403545" cy="1467513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>
            <a:defPPr>
              <a:defRPr lang="de-DE"/>
            </a:defPPr>
            <a:lvl1pPr marL="216000" indent="-216000">
              <a:spcAft>
                <a:spcPts val="600"/>
              </a:spcAft>
              <a:buClr>
                <a:schemeClr val="accent2"/>
              </a:buClr>
              <a:buFont typeface="Wingdings 3" panose="05040102010807070707" pitchFamily="18" charset="2"/>
              <a:buChar char="}"/>
              <a:defRPr sz="13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lace this blurb with other details.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</p:txBody>
      </p:sp>
      <p:sp>
        <p:nvSpPr>
          <p:cNvPr id="17" name="Oval 16"/>
          <p:cNvSpPr/>
          <p:nvPr/>
        </p:nvSpPr>
        <p:spPr>
          <a:xfrm>
            <a:off x="5544511" y="3129497"/>
            <a:ext cx="1101390" cy="1101390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0" scaled="0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25"/>
          <p:cNvSpPr>
            <a:spLocks/>
          </p:cNvSpPr>
          <p:nvPr/>
        </p:nvSpPr>
        <p:spPr bwMode="auto">
          <a:xfrm>
            <a:off x="5831403" y="3431496"/>
            <a:ext cx="527607" cy="497393"/>
          </a:xfrm>
          <a:custGeom>
            <a:avLst/>
            <a:gdLst>
              <a:gd name="T0" fmla="*/ 95 w 96"/>
              <a:gd name="T1" fmla="*/ 44 h 90"/>
              <a:gd name="T2" fmla="*/ 55 w 96"/>
              <a:gd name="T3" fmla="*/ 3 h 90"/>
              <a:gd name="T4" fmla="*/ 40 w 96"/>
              <a:gd name="T5" fmla="*/ 4 h 90"/>
              <a:gd name="T6" fmla="*/ 40 w 96"/>
              <a:gd name="T7" fmla="*/ 18 h 90"/>
              <a:gd name="T8" fmla="*/ 57 w 96"/>
              <a:gd name="T9" fmla="*/ 35 h 90"/>
              <a:gd name="T10" fmla="*/ 8 w 96"/>
              <a:gd name="T11" fmla="*/ 35 h 90"/>
              <a:gd name="T12" fmla="*/ 0 w 96"/>
              <a:gd name="T13" fmla="*/ 45 h 90"/>
              <a:gd name="T14" fmla="*/ 2 w 96"/>
              <a:gd name="T15" fmla="*/ 52 h 90"/>
              <a:gd name="T16" fmla="*/ 8 w 96"/>
              <a:gd name="T17" fmla="*/ 55 h 90"/>
              <a:gd name="T18" fmla="*/ 57 w 96"/>
              <a:gd name="T19" fmla="*/ 55 h 90"/>
              <a:gd name="T20" fmla="*/ 41 w 96"/>
              <a:gd name="T21" fmla="*/ 72 h 90"/>
              <a:gd name="T22" fmla="*/ 38 w 96"/>
              <a:gd name="T23" fmla="*/ 79 h 90"/>
              <a:gd name="T24" fmla="*/ 41 w 96"/>
              <a:gd name="T25" fmla="*/ 86 h 90"/>
              <a:gd name="T26" fmla="*/ 49 w 96"/>
              <a:gd name="T27" fmla="*/ 90 h 90"/>
              <a:gd name="T28" fmla="*/ 56 w 96"/>
              <a:gd name="T29" fmla="*/ 87 h 90"/>
              <a:gd name="T30" fmla="*/ 95 w 96"/>
              <a:gd name="T31" fmla="*/ 46 h 90"/>
              <a:gd name="T32" fmla="*/ 95 w 96"/>
              <a:gd name="T33" fmla="*/ 44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90">
                <a:moveTo>
                  <a:pt x="95" y="44"/>
                </a:moveTo>
                <a:cubicBezTo>
                  <a:pt x="55" y="3"/>
                  <a:pt x="55" y="3"/>
                  <a:pt x="55" y="3"/>
                </a:cubicBezTo>
                <a:cubicBezTo>
                  <a:pt x="51" y="0"/>
                  <a:pt x="44" y="0"/>
                  <a:pt x="40" y="4"/>
                </a:cubicBezTo>
                <a:cubicBezTo>
                  <a:pt x="36" y="8"/>
                  <a:pt x="36" y="14"/>
                  <a:pt x="40" y="18"/>
                </a:cubicBezTo>
                <a:cubicBezTo>
                  <a:pt x="57" y="35"/>
                  <a:pt x="57" y="35"/>
                  <a:pt x="57" y="35"/>
                </a:cubicBezTo>
                <a:cubicBezTo>
                  <a:pt x="8" y="35"/>
                  <a:pt x="8" y="35"/>
                  <a:pt x="8" y="35"/>
                </a:cubicBezTo>
                <a:cubicBezTo>
                  <a:pt x="3" y="35"/>
                  <a:pt x="0" y="40"/>
                  <a:pt x="0" y="45"/>
                </a:cubicBezTo>
                <a:cubicBezTo>
                  <a:pt x="0" y="47"/>
                  <a:pt x="1" y="50"/>
                  <a:pt x="2" y="52"/>
                </a:cubicBezTo>
                <a:cubicBezTo>
                  <a:pt x="3" y="54"/>
                  <a:pt x="6" y="55"/>
                  <a:pt x="8" y="55"/>
                </a:cubicBezTo>
                <a:cubicBezTo>
                  <a:pt x="57" y="55"/>
                  <a:pt x="57" y="55"/>
                  <a:pt x="57" y="55"/>
                </a:cubicBezTo>
                <a:cubicBezTo>
                  <a:pt x="41" y="72"/>
                  <a:pt x="41" y="72"/>
                  <a:pt x="41" y="72"/>
                </a:cubicBezTo>
                <a:cubicBezTo>
                  <a:pt x="39" y="74"/>
                  <a:pt x="38" y="76"/>
                  <a:pt x="38" y="79"/>
                </a:cubicBezTo>
                <a:cubicBezTo>
                  <a:pt x="38" y="81"/>
                  <a:pt x="39" y="84"/>
                  <a:pt x="41" y="86"/>
                </a:cubicBezTo>
                <a:cubicBezTo>
                  <a:pt x="43" y="88"/>
                  <a:pt x="46" y="90"/>
                  <a:pt x="49" y="90"/>
                </a:cubicBezTo>
                <a:cubicBezTo>
                  <a:pt x="51" y="90"/>
                  <a:pt x="54" y="89"/>
                  <a:pt x="56" y="87"/>
                </a:cubicBezTo>
                <a:cubicBezTo>
                  <a:pt x="95" y="46"/>
                  <a:pt x="95" y="46"/>
                  <a:pt x="95" y="46"/>
                </a:cubicBezTo>
                <a:cubicBezTo>
                  <a:pt x="96" y="46"/>
                  <a:pt x="96" y="44"/>
                  <a:pt x="95" y="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962006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ject overal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" name="Picture 6" descr="water-drop-384649_1920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19" y="1525588"/>
            <a:ext cx="3438000" cy="213828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381585" y="1525588"/>
            <a:ext cx="3438000" cy="2138282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8417450" y="1525588"/>
            <a:ext cx="3438000" cy="2138282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45719" y="3950473"/>
            <a:ext cx="3438000" cy="2138282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4381585" y="3950473"/>
            <a:ext cx="3438000" cy="2138282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8417450" y="3950473"/>
            <a:ext cx="3438000" cy="2138282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/>
          <p:cNvGrpSpPr/>
          <p:nvPr/>
        </p:nvGrpSpPr>
        <p:grpSpPr>
          <a:xfrm>
            <a:off x="4591488" y="1846766"/>
            <a:ext cx="3018194" cy="1495927"/>
            <a:chOff x="4591488" y="1733839"/>
            <a:chExt cx="3018194" cy="1495927"/>
          </a:xfrm>
        </p:grpSpPr>
        <p:sp>
          <p:nvSpPr>
            <p:cNvPr id="14" name="TextBox 13"/>
            <p:cNvSpPr txBox="1"/>
            <p:nvPr/>
          </p:nvSpPr>
          <p:spPr>
            <a:xfrm>
              <a:off x="4591488" y="1733839"/>
              <a:ext cx="3018194" cy="344128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Problem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591488" y="2331640"/>
              <a:ext cx="3018194" cy="898126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hange the title of this style and the overall purpose. Include any more text here. </a:t>
              </a:r>
            </a:p>
            <a:p>
              <a:pPr marL="285750" indent="-2857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.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591488" y="2078906"/>
              <a:ext cx="3018194" cy="251795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ategory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641313" y="1846766"/>
            <a:ext cx="3018194" cy="1495927"/>
            <a:chOff x="4591488" y="1733839"/>
            <a:chExt cx="3018194" cy="1495927"/>
          </a:xfrm>
        </p:grpSpPr>
        <p:sp>
          <p:nvSpPr>
            <p:cNvPr id="19" name="TextBox 18"/>
            <p:cNvSpPr txBox="1"/>
            <p:nvPr/>
          </p:nvSpPr>
          <p:spPr>
            <a:xfrm>
              <a:off x="4591488" y="1733839"/>
              <a:ext cx="3018194" cy="344128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Solution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591488" y="2331640"/>
              <a:ext cx="3018194" cy="898126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hange the title of this style and the overall purpose. Include any more text here. </a:t>
              </a:r>
            </a:p>
            <a:p>
              <a:pPr marL="285750" indent="-2857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591488" y="2078906"/>
              <a:ext cx="3018194" cy="251795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ategory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591488" y="4271651"/>
            <a:ext cx="3018194" cy="1495927"/>
            <a:chOff x="4591488" y="1733839"/>
            <a:chExt cx="3018194" cy="1495927"/>
          </a:xfrm>
        </p:grpSpPr>
        <p:sp>
          <p:nvSpPr>
            <p:cNvPr id="23" name="TextBox 22"/>
            <p:cNvSpPr txBox="1"/>
            <p:nvPr/>
          </p:nvSpPr>
          <p:spPr>
            <a:xfrm>
              <a:off x="4591488" y="1733839"/>
              <a:ext cx="3018194" cy="344128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Risks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591488" y="2331640"/>
              <a:ext cx="3018194" cy="898126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hange the title of this style and the overall purpose. Include any more text here. </a:t>
              </a:r>
            </a:p>
            <a:p>
              <a:pPr marL="285750" indent="-2857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.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591488" y="2078906"/>
              <a:ext cx="3018194" cy="251795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ategory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8641313" y="4271651"/>
            <a:ext cx="3018194" cy="1495927"/>
            <a:chOff x="4591488" y="1733839"/>
            <a:chExt cx="3018194" cy="1495927"/>
          </a:xfrm>
        </p:grpSpPr>
        <p:sp>
          <p:nvSpPr>
            <p:cNvPr id="27" name="TextBox 26"/>
            <p:cNvSpPr txBox="1"/>
            <p:nvPr/>
          </p:nvSpPr>
          <p:spPr>
            <a:xfrm>
              <a:off x="4591488" y="1733839"/>
              <a:ext cx="3018194" cy="344128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Rewards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591488" y="2331640"/>
              <a:ext cx="3018194" cy="898126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hange the title of this style and the overall purpose. Include any more text here. </a:t>
              </a:r>
            </a:p>
            <a:p>
              <a:pPr marL="285750" indent="-2857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.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591488" y="2078906"/>
              <a:ext cx="3018194" cy="251795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ategory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55622" y="4271651"/>
            <a:ext cx="3018194" cy="1495927"/>
            <a:chOff x="4591488" y="1733839"/>
            <a:chExt cx="3018194" cy="1495927"/>
          </a:xfrm>
        </p:grpSpPr>
        <p:sp>
          <p:nvSpPr>
            <p:cNvPr id="31" name="TextBox 30"/>
            <p:cNvSpPr txBox="1"/>
            <p:nvPr/>
          </p:nvSpPr>
          <p:spPr>
            <a:xfrm>
              <a:off x="4591488" y="1733839"/>
              <a:ext cx="3018194" cy="344128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Strategy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591488" y="2331640"/>
              <a:ext cx="3018194" cy="898126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hange the title of this style and the overall purpose. Include any more text here. </a:t>
              </a:r>
            </a:p>
            <a:p>
              <a:pPr marL="285750" indent="-2857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place this blurb with other details.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591488" y="2078906"/>
              <a:ext cx="3018194" cy="251795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ategory</a:t>
              </a:r>
            </a:p>
          </p:txBody>
        </p:sp>
      </p:grpSp>
      <p:sp>
        <p:nvSpPr>
          <p:cNvPr id="34" name="Rectangle 33"/>
          <p:cNvSpPr/>
          <p:nvPr/>
        </p:nvSpPr>
        <p:spPr>
          <a:xfrm>
            <a:off x="4381585" y="3594101"/>
            <a:ext cx="3438000" cy="6977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8431410" y="3594101"/>
            <a:ext cx="3438000" cy="697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4381585" y="6018985"/>
            <a:ext cx="3438000" cy="697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8431410" y="6018985"/>
            <a:ext cx="3438000" cy="697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345719" y="6018985"/>
            <a:ext cx="3438000" cy="697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2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000"/>
                            </p:stCondLst>
                            <p:childTnLst>
                              <p:par>
                                <p:cTn id="6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34" grpId="0" animBg="1"/>
      <p:bldP spid="35" grpId="0" animBg="1"/>
      <p:bldP spid="36" grpId="0" animBg="1"/>
      <p:bldP spid="37" grpId="0" animBg="1"/>
      <p:bldP spid="3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EAA725-CC0B-4A16-AE77-83A5B67A2992}" type="datetime1">
              <a:rPr lang="en-US" smtClean="0"/>
              <a:t>4/8/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60279" y="6294322"/>
            <a:ext cx="2742843" cy="365210"/>
          </a:xfrm>
        </p:spPr>
        <p:txBody>
          <a:bodyPr/>
          <a:lstStyle/>
          <a:p>
            <a:fld id="{B1EEA229-0096-49BD-81C1-58B039421B7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Picture 6" descr="water-drop-384649_1920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16" b="1198"/>
          <a:stretch/>
        </p:blipFill>
        <p:spPr>
          <a:xfrm>
            <a:off x="-31481" y="-1"/>
            <a:ext cx="12221894" cy="690658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915932" y="3173207"/>
            <a:ext cx="5709331" cy="3206115"/>
          </a:xfrm>
          <a:prstGeom prst="rect">
            <a:avLst/>
          </a:prstGeom>
          <a:gradFill>
            <a:gsLst>
              <a:gs pos="10000">
                <a:schemeClr val="accent4">
                  <a:lumMod val="50000"/>
                </a:schemeClr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6312620" y="3423428"/>
            <a:ext cx="4915955" cy="2705672"/>
            <a:chOff x="962745" y="2287241"/>
            <a:chExt cx="4915955" cy="2705672"/>
          </a:xfrm>
        </p:grpSpPr>
        <p:sp>
          <p:nvSpPr>
            <p:cNvPr id="9" name="TextBox 8"/>
            <p:cNvSpPr txBox="1"/>
            <p:nvPr/>
          </p:nvSpPr>
          <p:spPr>
            <a:xfrm>
              <a:off x="962745" y="2287241"/>
              <a:ext cx="4915955" cy="344128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sz="2000" b="1" dirty="0">
                  <a:solidFill>
                    <a:schemeClr val="bg1"/>
                  </a:solidFill>
                </a:rPr>
                <a:t>Project Summary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962745" y="2698572"/>
              <a:ext cx="4915955" cy="898126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bg1"/>
                  </a:solidFill>
                </a:rPr>
                <a:t>Remove and replace this text with any details related to your project, feel free to change the title. </a:t>
              </a:r>
            </a:p>
            <a:p>
              <a:pPr>
                <a:buClr>
                  <a:schemeClr val="accent2"/>
                </a:buClr>
              </a:pPr>
              <a:r>
                <a:rPr lang="en-US" sz="1400" dirty="0">
                  <a:solidFill>
                    <a:schemeClr val="bg1"/>
                  </a:solidFill>
                </a:rPr>
                <a:t>For replacing the placeholder text you need to click on the placeholder text and insert your own text.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962745" y="3663900"/>
              <a:ext cx="4915955" cy="1329013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 marL="285750" indent="-2857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bg1"/>
                  </a:solidFill>
                </a:rPr>
                <a:t>The text demonstrates how your own text will look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when you replace the placeholder with your own text.</a:t>
              </a:r>
            </a:p>
            <a:p>
              <a:pPr marL="285750" indent="-2857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bg1"/>
                  </a:solidFill>
                </a:rPr>
                <a:t>Replace this blurb with other details.</a:t>
              </a:r>
            </a:p>
            <a:p>
              <a:pPr marL="285750" indent="-2857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bg1"/>
                  </a:solidFill>
                </a:rPr>
                <a:t>The text demonstrates how your own text will look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when you replace the placeholder with your own text.</a:t>
              </a:r>
            </a:p>
            <a:p>
              <a:pPr marL="285750" indent="-2857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bg1"/>
                  </a:solidFill>
                </a:rPr>
                <a:t>Replace this blurb with other detail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87360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581263" y="3661224"/>
            <a:ext cx="9027886" cy="23990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Isosceles Triangle 29"/>
          <p:cNvSpPr/>
          <p:nvPr/>
        </p:nvSpPr>
        <p:spPr>
          <a:xfrm rot="5400000">
            <a:off x="3205509" y="3637496"/>
            <a:ext cx="403339" cy="287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Isosceles Triangle 30"/>
          <p:cNvSpPr/>
          <p:nvPr/>
        </p:nvSpPr>
        <p:spPr>
          <a:xfrm rot="5400000">
            <a:off x="6006961" y="3637496"/>
            <a:ext cx="403339" cy="287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sosceles Triangle 31"/>
          <p:cNvSpPr/>
          <p:nvPr/>
        </p:nvSpPr>
        <p:spPr>
          <a:xfrm rot="5400000">
            <a:off x="8808413" y="3637496"/>
            <a:ext cx="403339" cy="28736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Isosceles Triangle 26"/>
          <p:cNvSpPr/>
          <p:nvPr/>
        </p:nvSpPr>
        <p:spPr>
          <a:xfrm rot="5400000">
            <a:off x="3122566" y="3637496"/>
            <a:ext cx="403339" cy="28736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osceles Triangle 27"/>
          <p:cNvSpPr/>
          <p:nvPr/>
        </p:nvSpPr>
        <p:spPr>
          <a:xfrm rot="5400000">
            <a:off x="5924018" y="3637496"/>
            <a:ext cx="403339" cy="28736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Isosceles Triangle 28"/>
          <p:cNvSpPr/>
          <p:nvPr/>
        </p:nvSpPr>
        <p:spPr>
          <a:xfrm rot="5400000">
            <a:off x="8725470" y="3637496"/>
            <a:ext cx="403339" cy="28736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ject Mileston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8</a:t>
            </a:fld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503386" y="3391533"/>
            <a:ext cx="779286" cy="779286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1.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4304838" y="3391533"/>
            <a:ext cx="779286" cy="779286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2.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7106290" y="3391533"/>
            <a:ext cx="779286" cy="779286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3.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9907740" y="3391533"/>
            <a:ext cx="779286" cy="779286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</a:rPr>
              <a:t>04.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41183" y="2834656"/>
            <a:ext cx="170369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Initiatin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842634" y="4442521"/>
            <a:ext cx="170369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Plann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644085" y="2834656"/>
            <a:ext cx="170369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Executing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360352" y="4442521"/>
            <a:ext cx="1874061" cy="59034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Monitoring &amp; Closing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83932" y="2083091"/>
            <a:ext cx="3018194" cy="682682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how your own text will look when you replace the placeholder with your own text.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185383" y="4856351"/>
            <a:ext cx="3018194" cy="682682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how your own text will look when you replace the placeholder with your own text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986834" y="2083091"/>
            <a:ext cx="3018194" cy="682682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how your own text will look when you replace the placeholder with your own text.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788285" y="5105755"/>
            <a:ext cx="3018194" cy="682682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text demonstrates how your own text will look when you replace the placeholder with your own text. </a:t>
            </a:r>
          </a:p>
        </p:txBody>
      </p:sp>
      <p:cxnSp>
        <p:nvCxnSpPr>
          <p:cNvPr id="22" name="Straight Connector 21"/>
          <p:cNvCxnSpPr>
            <a:stCxn id="8" idx="0"/>
            <a:endCxn id="13" idx="2"/>
          </p:cNvCxnSpPr>
          <p:nvPr/>
        </p:nvCxnSpPr>
        <p:spPr>
          <a:xfrm flipV="1">
            <a:off x="1893029" y="3148006"/>
            <a:ext cx="0" cy="243527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7495931" y="3117229"/>
            <a:ext cx="0" cy="27430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4684451" y="4168217"/>
            <a:ext cx="0" cy="27430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10264493" y="4168217"/>
            <a:ext cx="0" cy="27430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0885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ddressed Challeng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334963" y="1916840"/>
            <a:ext cx="884379" cy="884379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1800000" scaled="0"/>
          </a:gradFill>
          <a:ln w="635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1" dirty="0"/>
              <a:t>01</a:t>
            </a:r>
            <a:endParaRPr lang="en-US" b="1" dirty="0"/>
          </a:p>
        </p:txBody>
      </p:sp>
      <p:grpSp>
        <p:nvGrpSpPr>
          <p:cNvPr id="12" name="Group 11"/>
          <p:cNvGrpSpPr/>
          <p:nvPr/>
        </p:nvGrpSpPr>
        <p:grpSpPr>
          <a:xfrm>
            <a:off x="1550988" y="1933293"/>
            <a:ext cx="4724400" cy="851472"/>
            <a:chOff x="1550988" y="1755481"/>
            <a:chExt cx="4724400" cy="851472"/>
          </a:xfrm>
        </p:grpSpPr>
        <p:sp>
          <p:nvSpPr>
            <p:cNvPr id="10" name="TextBox 9"/>
            <p:cNvSpPr txBox="1"/>
            <p:nvPr/>
          </p:nvSpPr>
          <p:spPr>
            <a:xfrm>
              <a:off x="1550988" y="1755481"/>
              <a:ext cx="4724400" cy="313350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</a:rPr>
                <a:t>Challenge 1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50988" y="2078159"/>
              <a:ext cx="4724400" cy="528794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replacing the placeholder text you need to click on the placeholder text  and insert your own text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7131050" y="1848411"/>
            <a:ext cx="4724400" cy="1021237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</p:txBody>
      </p:sp>
      <p:sp>
        <p:nvSpPr>
          <p:cNvPr id="8" name="Oval 7"/>
          <p:cNvSpPr/>
          <p:nvPr/>
        </p:nvSpPr>
        <p:spPr>
          <a:xfrm>
            <a:off x="334963" y="3415203"/>
            <a:ext cx="884379" cy="884379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1800000" scaled="0"/>
          </a:gradFill>
          <a:ln w="635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1" dirty="0"/>
              <a:t>02</a:t>
            </a:r>
            <a:endParaRPr lang="en-US" b="1" dirty="0"/>
          </a:p>
        </p:txBody>
      </p:sp>
      <p:grpSp>
        <p:nvGrpSpPr>
          <p:cNvPr id="13" name="Group 12"/>
          <p:cNvGrpSpPr/>
          <p:nvPr/>
        </p:nvGrpSpPr>
        <p:grpSpPr>
          <a:xfrm>
            <a:off x="1550988" y="3431656"/>
            <a:ext cx="4724400" cy="851472"/>
            <a:chOff x="1550988" y="1755481"/>
            <a:chExt cx="4724400" cy="851472"/>
          </a:xfrm>
        </p:grpSpPr>
        <p:sp>
          <p:nvSpPr>
            <p:cNvPr id="14" name="TextBox 13"/>
            <p:cNvSpPr txBox="1"/>
            <p:nvPr/>
          </p:nvSpPr>
          <p:spPr>
            <a:xfrm>
              <a:off x="1550988" y="1755481"/>
              <a:ext cx="4724400" cy="313350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</a:rPr>
                <a:t>Challenge 2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550988" y="2078159"/>
              <a:ext cx="4724400" cy="528794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replacing the placeholder text you need to click on the placeholder text  and insert your own text. </a:t>
              </a: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7131050" y="3346774"/>
            <a:ext cx="4724400" cy="1021237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</p:txBody>
      </p:sp>
      <p:sp>
        <p:nvSpPr>
          <p:cNvPr id="9" name="Oval 8"/>
          <p:cNvSpPr/>
          <p:nvPr/>
        </p:nvSpPr>
        <p:spPr>
          <a:xfrm>
            <a:off x="334963" y="4913567"/>
            <a:ext cx="884379" cy="884379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1800000" scaled="0"/>
          </a:gradFill>
          <a:ln w="635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1" dirty="0"/>
              <a:t>03</a:t>
            </a:r>
            <a:endParaRPr lang="en-US" b="1" dirty="0"/>
          </a:p>
        </p:txBody>
      </p:sp>
      <p:grpSp>
        <p:nvGrpSpPr>
          <p:cNvPr id="16" name="Group 15"/>
          <p:cNvGrpSpPr/>
          <p:nvPr/>
        </p:nvGrpSpPr>
        <p:grpSpPr>
          <a:xfrm>
            <a:off x="1550988" y="4930020"/>
            <a:ext cx="4724400" cy="851472"/>
            <a:chOff x="1550988" y="1755481"/>
            <a:chExt cx="4724400" cy="851472"/>
          </a:xfrm>
        </p:grpSpPr>
        <p:sp>
          <p:nvSpPr>
            <p:cNvPr id="17" name="TextBox 16"/>
            <p:cNvSpPr txBox="1"/>
            <p:nvPr/>
          </p:nvSpPr>
          <p:spPr>
            <a:xfrm>
              <a:off x="1550988" y="1755481"/>
              <a:ext cx="4724400" cy="313350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</a:rPr>
                <a:t>Challenge 3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550988" y="2078159"/>
              <a:ext cx="4724400" cy="528794"/>
            </a:xfrm>
            <a:prstGeom prst="rect">
              <a:avLst/>
            </a:prstGeom>
            <a:noFill/>
          </p:spPr>
          <p:txBody>
            <a:bodyPr wrap="square" lIns="0" tIns="0" rIns="0" bIns="3600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replacing the placeholder text you need to click on the placeholder text  and insert your own text. </a:t>
              </a: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7131050" y="4845138"/>
            <a:ext cx="4724400" cy="1021237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nge the title of this style and the overall purpose. Include any more text here.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move and replace this text with any details related to your project, feel free to change the title. </a:t>
            </a:r>
          </a:p>
        </p:txBody>
      </p:sp>
      <p:sp>
        <p:nvSpPr>
          <p:cNvPr id="26" name="Isosceles Triangle 25"/>
          <p:cNvSpPr/>
          <p:nvPr/>
        </p:nvSpPr>
        <p:spPr>
          <a:xfrm rot="5400000">
            <a:off x="6464383" y="2283966"/>
            <a:ext cx="477671" cy="15012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Isosceles Triangle 26"/>
          <p:cNvSpPr/>
          <p:nvPr/>
        </p:nvSpPr>
        <p:spPr>
          <a:xfrm rot="5400000">
            <a:off x="6464383" y="3782329"/>
            <a:ext cx="477671" cy="15012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osceles Triangle 27"/>
          <p:cNvSpPr/>
          <p:nvPr/>
        </p:nvSpPr>
        <p:spPr>
          <a:xfrm rot="5400000">
            <a:off x="6464383" y="5280693"/>
            <a:ext cx="477671" cy="15012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5877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9244C"/>
      </a:accent1>
      <a:accent2>
        <a:srgbClr val="B0E900"/>
      </a:accent2>
      <a:accent3>
        <a:srgbClr val="09244C"/>
      </a:accent3>
      <a:accent4>
        <a:srgbClr val="009CDA"/>
      </a:accent4>
      <a:accent5>
        <a:srgbClr val="AED8EF"/>
      </a:accent5>
      <a:accent6>
        <a:srgbClr val="D0CECE"/>
      </a:accent6>
      <a:hlink>
        <a:srgbClr val="3F3F3F"/>
      </a:hlink>
      <a:folHlink>
        <a:srgbClr val="D6DCE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68</TotalTime>
  <Words>3492</Words>
  <Application>Microsoft Macintosh PowerPoint</Application>
  <PresentationFormat>Custom</PresentationFormat>
  <Paragraphs>972</Paragraphs>
  <Slides>3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1" baseType="lpstr">
      <vt:lpstr>Office Theme</vt:lpstr>
      <vt:lpstr>think-cell Slide</vt:lpstr>
      <vt:lpstr>PowerPoint Presentation</vt:lpstr>
      <vt:lpstr>Contents</vt:lpstr>
      <vt:lpstr>Project Summary</vt:lpstr>
      <vt:lpstr>High-Level Project Overview</vt:lpstr>
      <vt:lpstr>Today vs. Tomorrow</vt:lpstr>
      <vt:lpstr>Project overall</vt:lpstr>
      <vt:lpstr>PowerPoint Presentation</vt:lpstr>
      <vt:lpstr>Project Milestones</vt:lpstr>
      <vt:lpstr>Addressed Challenges</vt:lpstr>
      <vt:lpstr>Three-Step Process</vt:lpstr>
      <vt:lpstr>Inspirational Quotes</vt:lpstr>
      <vt:lpstr>Feature Development</vt:lpstr>
      <vt:lpstr>Comparison of State – Today Vs. Tomorrow</vt:lpstr>
      <vt:lpstr>Budget Table</vt:lpstr>
      <vt:lpstr>Gantt CHart</vt:lpstr>
      <vt:lpstr>Resources Gantt Chart</vt:lpstr>
      <vt:lpstr>Gantt-Chart</vt:lpstr>
      <vt:lpstr>Timeline – 5 weeks</vt:lpstr>
      <vt:lpstr>Timeline</vt:lpstr>
      <vt:lpstr>Process chart</vt:lpstr>
      <vt:lpstr>Phase Selection Process</vt:lpstr>
      <vt:lpstr>Strategy</vt:lpstr>
      <vt:lpstr>Organization</vt:lpstr>
      <vt:lpstr>Organization</vt:lpstr>
      <vt:lpstr>Quote Comparison</vt:lpstr>
      <vt:lpstr>Capacity Planning</vt:lpstr>
      <vt:lpstr>Consumer Strategy</vt:lpstr>
      <vt:lpstr>Consumer Strategy</vt:lpstr>
      <vt:lpstr>Overall Timeline</vt:lpstr>
      <vt:lpstr>Timeline</vt:lpstr>
      <vt:lpstr>Percent Completion</vt:lpstr>
      <vt:lpstr>Product Life Cycle</vt:lpstr>
      <vt:lpstr>Project Blockers</vt:lpstr>
      <vt:lpstr>New Feature Requests</vt:lpstr>
      <vt:lpstr>Process Phases</vt:lpstr>
      <vt:lpstr>Extended Stakeholder Buy-in</vt:lpstr>
      <vt:lpstr>Road Map Status</vt:lpstr>
      <vt:lpstr>SWOT</vt:lpstr>
      <vt:lpstr>Positive &amp; Negative Factors</vt:lpstr>
    </vt:vector>
  </TitlesOfParts>
  <Manager>You Exec (https://youexec.com/plus)</Manager>
  <Company>You Exec (https://youexec.com/plus)</Company>
  <LinksUpToDate>false</LinksUpToDate>
  <SharedDoc>false</SharedDoc>
  <HyperlinkBase>https://youexec.com/plus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/plus)</dc:title>
  <dc:subject>You Exec (https://youexec.com/plus)</dc:subject>
  <dc:creator>You Exec (https://youexec.com/plus)</dc:creator>
  <cp:keywords>You Exec (https://youexec.com/plus)</cp:keywords>
  <dc:description>You Exec (https://youexec.com/plus)</dc:description>
  <cp:lastModifiedBy>You Exec</cp:lastModifiedBy>
  <cp:revision>244</cp:revision>
  <dcterms:created xsi:type="dcterms:W3CDTF">2016-03-15T10:14:04Z</dcterms:created>
  <dcterms:modified xsi:type="dcterms:W3CDTF">2018-04-08T23:29:59Z</dcterms:modified>
  <cp:category>You Exec (https://youexec.com/plus)</cp:category>
</cp:coreProperties>
</file>